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4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5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6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7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8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9.xml" ContentType="application/vnd.openxmlformats-officedocument.theme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10.xml" ContentType="application/vnd.openxmlformats-officedocument.theme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11.xml" ContentType="application/vnd.openxmlformats-officedocument.theme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12.xml" ContentType="application/vnd.openxmlformats-officedocument.theme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13.xml" ContentType="application/vnd.openxmlformats-officedocument.theme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14.xml" ContentType="application/vnd.openxmlformats-officedocument.theme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15.xml" ContentType="application/vnd.openxmlformats-officedocument.theme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16.xml" ContentType="application/vnd.openxmlformats-officedocument.theme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17.xml" ContentType="application/vnd.openxmlformats-officedocument.theme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18.xml" ContentType="application/vnd.openxmlformats-officedocument.theme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19.xml" ContentType="application/vnd.openxmlformats-officedocument.theme+xml"/>
  <Override PartName="/ppt/theme/theme20.xml" ContentType="application/vnd.openxmlformats-officedocument.theme+xml"/>
  <Override PartName="/ppt/theme/theme21.xml" ContentType="application/vnd.openxmlformats-officedocument.theme+xml"/>
  <Override PartName="/ppt/notesSlides/notesSlide1.xml" ContentType="application/vnd.openxmlformats-officedocument.presentationml.notesSlide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notesSlides/notesSlide2.xml" ContentType="application/vnd.openxmlformats-officedocument.presentationml.notesSlide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95" r:id="rId2"/>
    <p:sldMasterId id="2147483741" r:id="rId3"/>
    <p:sldMasterId id="2147483746" r:id="rId4"/>
    <p:sldMasterId id="2147483754" r:id="rId5"/>
    <p:sldMasterId id="2147483757" r:id="rId6"/>
    <p:sldMasterId id="2147483783" r:id="rId7"/>
    <p:sldMasterId id="2147483791" r:id="rId8"/>
    <p:sldMasterId id="2147483799" r:id="rId9"/>
    <p:sldMasterId id="2147483807" r:id="rId10"/>
    <p:sldMasterId id="2147483815" r:id="rId11"/>
    <p:sldMasterId id="2147483823" r:id="rId12"/>
    <p:sldMasterId id="2147483831" r:id="rId13"/>
    <p:sldMasterId id="2147483839" r:id="rId14"/>
    <p:sldMasterId id="2147483847" r:id="rId15"/>
    <p:sldMasterId id="2147483863" r:id="rId16"/>
    <p:sldMasterId id="2147483871" r:id="rId17"/>
    <p:sldMasterId id="2147483876" r:id="rId18"/>
    <p:sldMasterId id="2147483895" r:id="rId19"/>
  </p:sldMasterIdLst>
  <p:notesMasterIdLst>
    <p:notesMasterId r:id="rId32"/>
  </p:notesMasterIdLst>
  <p:handoutMasterIdLst>
    <p:handoutMasterId r:id="rId33"/>
  </p:handoutMasterIdLst>
  <p:sldIdLst>
    <p:sldId id="344" r:id="rId20"/>
    <p:sldId id="301" r:id="rId21"/>
    <p:sldId id="324" r:id="rId22"/>
    <p:sldId id="345" r:id="rId23"/>
    <p:sldId id="305" r:id="rId24"/>
    <p:sldId id="328" r:id="rId25"/>
    <p:sldId id="331" r:id="rId26"/>
    <p:sldId id="352" r:id="rId27"/>
    <p:sldId id="351" r:id="rId28"/>
    <p:sldId id="346" r:id="rId29"/>
    <p:sldId id="350" r:id="rId30"/>
    <p:sldId id="292" r:id="rId31"/>
  </p:sldIdLst>
  <p:sldSz cx="9144000" cy="6858000" type="screen4x3"/>
  <p:notesSz cx="6950075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909">
          <p15:clr>
            <a:srgbClr val="A4A3A4"/>
          </p15:clr>
        </p15:guide>
        <p15:guide id="2" pos="2189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Nancy Archibald" initials="NA" lastIdx="1" clrIdx="0"/>
  <p:cmAuthor id="1" name="PK" initials="PK" lastIdx="4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92246"/>
    <a:srgbClr val="1A2343"/>
    <a:srgbClr val="011D5F"/>
    <a:srgbClr val="E71B1B"/>
    <a:srgbClr val="7E7E82"/>
    <a:srgbClr val="C8141E"/>
    <a:srgbClr val="514F50"/>
    <a:srgbClr val="FF1925"/>
    <a:srgbClr val="7F7F7F"/>
    <a:srgbClr val="D42A2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75" autoAdjust="0"/>
    <p:restoredTop sz="86784" autoAdjust="0"/>
  </p:normalViewPr>
  <p:slideViewPr>
    <p:cSldViewPr>
      <p:cViewPr varScale="1">
        <p:scale>
          <a:sx n="97" d="100"/>
          <a:sy n="97" d="100"/>
        </p:scale>
        <p:origin x="-1368" y="-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300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4734"/>
    </p:cViewPr>
  </p:sorterViewPr>
  <p:notesViewPr>
    <p:cSldViewPr>
      <p:cViewPr varScale="1">
        <p:scale>
          <a:sx n="50" d="100"/>
          <a:sy n="50" d="100"/>
        </p:scale>
        <p:origin x="-2994" y="-108"/>
      </p:cViewPr>
      <p:guideLst>
        <p:guide orient="horz" pos="2909"/>
        <p:guide pos="218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7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2.xml"/><Relationship Id="rId34" Type="http://schemas.openxmlformats.org/officeDocument/2006/relationships/commentAuthors" Target="commentAuthor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6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1.xml"/><Relationship Id="rId29" Type="http://schemas.openxmlformats.org/officeDocument/2006/relationships/slide" Target="slides/slide10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5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36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slide" Target="slides/slide11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2329" cy="462120"/>
          </a:xfrm>
          <a:prstGeom prst="rect">
            <a:avLst/>
          </a:prstGeom>
        </p:spPr>
        <p:txBody>
          <a:bodyPr vert="horz" lIns="90763" tIns="45382" rIns="90763" bIns="4538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173" y="0"/>
            <a:ext cx="3012329" cy="462120"/>
          </a:xfrm>
          <a:prstGeom prst="rect">
            <a:avLst/>
          </a:prstGeom>
        </p:spPr>
        <p:txBody>
          <a:bodyPr vert="horz" lIns="90763" tIns="45382" rIns="90763" bIns="45382" rtlCol="0"/>
          <a:lstStyle>
            <a:lvl1pPr algn="r">
              <a:defRPr sz="1200"/>
            </a:lvl1pPr>
          </a:lstStyle>
          <a:p>
            <a:fld id="{A529B845-3DE4-C44E-82C8-700AB11ED3A6}" type="datetime1">
              <a:rPr lang="en-US" smtClean="0"/>
              <a:pPr/>
              <a:t>4/16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72378"/>
            <a:ext cx="3012329" cy="462120"/>
          </a:xfrm>
          <a:prstGeom prst="rect">
            <a:avLst/>
          </a:prstGeom>
        </p:spPr>
        <p:txBody>
          <a:bodyPr vert="horz" lIns="90763" tIns="45382" rIns="90763" bIns="4538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173" y="8772378"/>
            <a:ext cx="3012329" cy="462120"/>
          </a:xfrm>
          <a:prstGeom prst="rect">
            <a:avLst/>
          </a:prstGeom>
        </p:spPr>
        <p:txBody>
          <a:bodyPr vert="horz" lIns="90763" tIns="45382" rIns="90763" bIns="45382" rtlCol="0" anchor="b"/>
          <a:lstStyle>
            <a:lvl1pPr algn="r">
              <a:defRPr sz="1200"/>
            </a:lvl1pPr>
          </a:lstStyle>
          <a:p>
            <a:fld id="{A796EF79-0BF4-924E-943E-33FECC0BC4E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575321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3012002" cy="461193"/>
          </a:xfrm>
          <a:prstGeom prst="rect">
            <a:avLst/>
          </a:prstGeom>
        </p:spPr>
        <p:txBody>
          <a:bodyPr vert="horz" lIns="87474" tIns="43738" rIns="87474" bIns="4373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566" y="2"/>
            <a:ext cx="3012002" cy="461193"/>
          </a:xfrm>
          <a:prstGeom prst="rect">
            <a:avLst/>
          </a:prstGeom>
        </p:spPr>
        <p:txBody>
          <a:bodyPr vert="horz" lIns="87474" tIns="43738" rIns="87474" bIns="43738" rtlCol="0"/>
          <a:lstStyle>
            <a:lvl1pPr algn="r">
              <a:defRPr sz="1200"/>
            </a:lvl1pPr>
          </a:lstStyle>
          <a:p>
            <a:fld id="{D55E2DDC-EEF2-C84C-B230-6800F23774E3}" type="datetime1">
              <a:rPr lang="en-US" smtClean="0"/>
              <a:pPr/>
              <a:t>4/16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693738"/>
            <a:ext cx="4616450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474" tIns="43738" rIns="87474" bIns="4373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311" y="4387444"/>
            <a:ext cx="5559456" cy="4155317"/>
          </a:xfrm>
          <a:prstGeom prst="rect">
            <a:avLst/>
          </a:prstGeom>
        </p:spPr>
        <p:txBody>
          <a:bodyPr vert="horz" lIns="87474" tIns="43738" rIns="87474" bIns="43738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773358"/>
            <a:ext cx="3012002" cy="461193"/>
          </a:xfrm>
          <a:prstGeom prst="rect">
            <a:avLst/>
          </a:prstGeom>
        </p:spPr>
        <p:txBody>
          <a:bodyPr vert="horz" lIns="87474" tIns="43738" rIns="87474" bIns="4373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566" y="8773358"/>
            <a:ext cx="3012002" cy="461193"/>
          </a:xfrm>
          <a:prstGeom prst="rect">
            <a:avLst/>
          </a:prstGeom>
        </p:spPr>
        <p:txBody>
          <a:bodyPr vert="horz" lIns="87474" tIns="43738" rIns="87474" bIns="43738" rtlCol="0" anchor="b"/>
          <a:lstStyle>
            <a:lvl1pPr algn="r">
              <a:defRPr sz="1200"/>
            </a:lvl1pPr>
          </a:lstStyle>
          <a:p>
            <a:fld id="{DE8B79F1-B7B6-4FD2-9263-BB9B47A67CD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83634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Tennessee we are taking a leadership role in changing the incentives for providers so that better care and more efficient care is rewarded. These are our three strategies: </a:t>
            </a:r>
          </a:p>
          <a:p>
            <a:endParaRPr lang="en-US" dirty="0" smtClean="0"/>
          </a:p>
          <a:p>
            <a:r>
              <a:rPr lang="en-US" dirty="0" smtClean="0"/>
              <a:t>Primary </a:t>
            </a:r>
            <a:r>
              <a:rPr lang="en-US" dirty="0"/>
              <a:t>Care Transformation includes patient centered medical home, which pays primary care providers for prevention, for maintaining a patient’s health over time, and for coordinating the care they receive from specialists. We have our Tennessee Health Link program as well, which is a value-based payment approach to paying for behavioral health care coordination. </a:t>
            </a:r>
          </a:p>
          <a:p>
            <a:endParaRPr lang="en-US" dirty="0" smtClean="0"/>
          </a:p>
          <a:p>
            <a:r>
              <a:rPr lang="en-US" dirty="0" smtClean="0"/>
              <a:t>The </a:t>
            </a:r>
            <a:r>
              <a:rPr lang="en-US" dirty="0"/>
              <a:t>second strategy, Episodes are for acute and specialist-driven care, and we are on a path to design 75 episodes of care by 2020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en-US" dirty="0"/>
              <a:t>We also have several value-based payment approaches to long term services and support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8B79F1-B7B6-4FD2-9263-BB9B47A67CD8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44503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8649" y="4488032"/>
            <a:ext cx="5982281" cy="22266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292730" y="8020683"/>
            <a:ext cx="168202" cy="16699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50085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8B79F1-B7B6-4FD2-9263-BB9B47A67CD8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0580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52550" y="1133475"/>
            <a:ext cx="4079875" cy="3060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8B79F1-B7B6-4FD2-9263-BB9B47A67CD8}" type="slidenum">
              <a:rPr lang="en-US" smtClean="0">
                <a:solidFill>
                  <a:srgbClr val="000000"/>
                </a:solidFill>
              </a:rPr>
              <a:pPr/>
              <a:t>9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75593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52550" y="1133475"/>
            <a:ext cx="4079875" cy="3060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8B79F1-B7B6-4FD2-9263-BB9B47A67CD8}" type="slidenum">
              <a:rPr lang="en-US" smtClean="0">
                <a:solidFill>
                  <a:srgbClr val="000000"/>
                </a:solidFill>
              </a:rPr>
              <a:pPr/>
              <a:t>10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64447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60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0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61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1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62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2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382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4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383.xml"/><Relationship Id="rId1" Type="http://schemas.openxmlformats.org/officeDocument/2006/relationships/vmlDrawing" Target="../drawings/vmlDrawing9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5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384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6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385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97.bin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1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4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5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6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9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7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0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8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0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3.bin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4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5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0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1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2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61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5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7.bin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8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9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1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86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87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3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4.bin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89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5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09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7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10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8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11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9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12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0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13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1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14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2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4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35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5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36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6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37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7.bin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38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8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239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9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59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1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60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2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61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3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62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4.bin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63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5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64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6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84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8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85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9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86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0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87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1.bin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88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2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89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3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09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5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10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6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11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7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12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8.bin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13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79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314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80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34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82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35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83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36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84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37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85.bin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38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86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39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87.bin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59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8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6477000" y="6096000"/>
            <a:ext cx="2133600" cy="457200"/>
          </a:xfrm>
        </p:spPr>
        <p:txBody>
          <a:bodyPr anchor="b">
            <a:normAutofit/>
          </a:bodyPr>
          <a:lstStyle>
            <a:lvl1pPr marL="0" indent="0" algn="r">
              <a:buNone/>
              <a:defRPr sz="1600">
                <a:solidFill>
                  <a:schemeClr val="accent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" y="2449285"/>
            <a:ext cx="7315200" cy="1567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1257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lumn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57200" y="1676400"/>
            <a:ext cx="4038600" cy="4191000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  <a:lvl2pPr>
              <a:defRPr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648200" y="1676400"/>
            <a:ext cx="4038600" cy="4191000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  <a:lvl2pPr>
              <a:defRPr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0095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84646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/>
          <p:cNvCxnSpPr/>
          <p:nvPr userDrawn="1"/>
        </p:nvCxnSpPr>
        <p:spPr>
          <a:xfrm>
            <a:off x="4601168" y="3124200"/>
            <a:ext cx="0" cy="790575"/>
          </a:xfrm>
          <a:prstGeom prst="line">
            <a:avLst/>
          </a:prstGeom>
          <a:ln>
            <a:solidFill>
              <a:srgbClr val="7E7E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800600" y="3334821"/>
            <a:ext cx="3581400" cy="369332"/>
          </a:xfrm>
        </p:spPr>
        <p:txBody>
          <a:bodyPr anchor="ctr" anchorCtr="0">
            <a:spAutoFit/>
          </a:bodyPr>
          <a:lstStyle>
            <a:lvl1pPr algn="l"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Title</a:t>
            </a:r>
            <a:endParaRPr lang="en-JM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1066800" y="2975419"/>
            <a:ext cx="3334935" cy="1088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48935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3902648" y="4993041"/>
            <a:ext cx="4873799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  <a:sym typeface="Open Sans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  <a:sym typeface="Open Sans"/>
                </a:rPr>
                <a:t>Dat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8298444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  <a:sym typeface="Open Sans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" y="2449285"/>
            <a:ext cx="7315200" cy="1567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8398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3086833" y="6217105"/>
            <a:ext cx="4873799" cy="484305"/>
            <a:chOff x="1663" y="3109"/>
            <a:chExt cx="3109" cy="29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9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30279" y="4122533"/>
            <a:ext cx="7530353" cy="492443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3200" b="1" cap="all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30279" y="5292998"/>
            <a:ext cx="7530353" cy="246221"/>
          </a:xfrm>
        </p:spPr>
        <p:txBody>
          <a:bodyPr wrap="square" anchor="t">
            <a:spAutoFit/>
          </a:bodyPr>
          <a:lstStyle>
            <a:lvl1pPr algn="r">
              <a:defRPr sz="1600" cap="all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8298444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914400" y="2449286"/>
            <a:ext cx="7315200" cy="1567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56184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66463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2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/>
          <p:cNvCxnSpPr/>
          <p:nvPr userDrawn="1"/>
        </p:nvCxnSpPr>
        <p:spPr>
          <a:xfrm>
            <a:off x="4601168" y="3124200"/>
            <a:ext cx="0" cy="790575"/>
          </a:xfrm>
          <a:prstGeom prst="line">
            <a:avLst/>
          </a:prstGeom>
          <a:ln>
            <a:solidFill>
              <a:srgbClr val="7E7E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800600" y="3334821"/>
            <a:ext cx="3581400" cy="369332"/>
          </a:xfrm>
        </p:spPr>
        <p:txBody>
          <a:bodyPr anchor="ctr" anchorCtr="0">
            <a:spAutoFit/>
          </a:bodyPr>
          <a:lstStyle>
            <a:lvl1pPr algn="l"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Title</a:t>
            </a:r>
            <a:endParaRPr lang="en-JM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1066800" y="2975419"/>
            <a:ext cx="3334935" cy="1088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89384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3902648" y="4993041"/>
            <a:ext cx="4873799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  <a:sym typeface="Open Sans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  <a:sym typeface="Open Sans"/>
                </a:rPr>
                <a:t>Dat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8298444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  <a:sym typeface="Open Sans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" y="2449285"/>
            <a:ext cx="7315200" cy="1567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1887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6477000" y="6096000"/>
            <a:ext cx="2133600" cy="457200"/>
          </a:xfrm>
        </p:spPr>
        <p:txBody>
          <a:bodyPr anchor="b">
            <a:normAutofit/>
          </a:bodyPr>
          <a:lstStyle>
            <a:lvl1pPr marL="0" indent="0" algn="r">
              <a:buNone/>
              <a:defRPr sz="1600">
                <a:solidFill>
                  <a:schemeClr val="accent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" y="2449285"/>
            <a:ext cx="7315200" cy="1567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0708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idx="1"/>
          </p:nvPr>
        </p:nvSpPr>
        <p:spPr>
          <a:xfrm>
            <a:off x="457200" y="1701805"/>
            <a:ext cx="8229600" cy="41655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>
              <a:buFont typeface="Arial" panose="020B0604020202020204" pitchFamily="34" charset="0"/>
              <a:buChar char="•"/>
              <a:defRPr>
                <a:solidFill>
                  <a:schemeClr val="accent5"/>
                </a:solidFill>
              </a:defRPr>
            </a:lvl1pPr>
            <a:lvl2pPr marL="742950" indent="-285750">
              <a:buFont typeface="Calibri" panose="020F0502020204030204" pitchFamily="34" charset="0"/>
              <a:buChar char="▫"/>
              <a:defRPr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JM" dirty="0"/>
          </a:p>
        </p:txBody>
      </p:sp>
    </p:spTree>
    <p:extLst>
      <p:ext uri="{BB962C8B-B14F-4D97-AF65-F5344CB8AC3E}">
        <p14:creationId xmlns:p14="http://schemas.microsoft.com/office/powerpoint/2010/main" val="1616336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lumn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57200" y="1676400"/>
            <a:ext cx="4038600" cy="4191000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  <a:lvl2pPr>
              <a:defRPr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648200" y="1676400"/>
            <a:ext cx="4038600" cy="4191000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  <a:lvl2pPr>
              <a:defRPr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0869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4572000" y="3124200"/>
            <a:ext cx="0" cy="790575"/>
          </a:xfrm>
          <a:prstGeom prst="line">
            <a:avLst/>
          </a:prstGeom>
          <a:ln>
            <a:solidFill>
              <a:srgbClr val="7E7E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800600" y="3276600"/>
            <a:ext cx="3581400" cy="457200"/>
          </a:xfrm>
        </p:spPr>
        <p:txBody>
          <a:bodyPr anchor="t">
            <a:noAutofit/>
          </a:bodyPr>
          <a:lstStyle>
            <a:lvl1pPr algn="l">
              <a:defRPr sz="24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JM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0" y="2975419"/>
            <a:ext cx="3334935" cy="1088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3354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4572000" y="3124200"/>
            <a:ext cx="0" cy="790575"/>
          </a:xfrm>
          <a:prstGeom prst="line">
            <a:avLst/>
          </a:prstGeom>
          <a:ln>
            <a:solidFill>
              <a:srgbClr val="7E7E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800600" y="3276600"/>
            <a:ext cx="3581400" cy="457200"/>
          </a:xfrm>
        </p:spPr>
        <p:txBody>
          <a:bodyPr anchor="t">
            <a:noAutofit/>
          </a:bodyPr>
          <a:lstStyle>
            <a:lvl1pPr algn="l">
              <a:defRPr sz="24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JM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0" y="2975419"/>
            <a:ext cx="3334935" cy="1088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4765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>
                <a:latin typeface="Georgia" panose="02040502050405020303" pitchFamily="18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5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5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60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5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6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21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75155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62645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4944" y="234863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8742183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3657600" y="3124200"/>
            <a:ext cx="0" cy="790575"/>
          </a:xfrm>
          <a:prstGeom prst="line">
            <a:avLst/>
          </a:prstGeom>
          <a:ln>
            <a:solidFill>
              <a:srgbClr val="7E7E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3810000" y="3581399"/>
            <a:ext cx="2133600" cy="419099"/>
          </a:xfrm>
        </p:spPr>
        <p:txBody>
          <a:bodyPr anchor="ctr">
            <a:normAutofit/>
          </a:bodyPr>
          <a:lstStyle>
            <a:lvl1pPr marL="0" indent="0">
              <a:buNone/>
              <a:defRPr sz="1600">
                <a:solidFill>
                  <a:schemeClr val="accent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810000" y="3048000"/>
            <a:ext cx="5181600" cy="533399"/>
          </a:xfrm>
        </p:spPr>
        <p:txBody>
          <a:bodyPr anchor="ctr">
            <a:noAutofit/>
          </a:bodyPr>
          <a:lstStyle>
            <a:lvl1pPr algn="l">
              <a:defRPr sz="2000" b="1" cap="all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JM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6477000" y="6096000"/>
            <a:ext cx="2133600" cy="457200"/>
          </a:xfrm>
        </p:spPr>
        <p:txBody>
          <a:bodyPr anchor="b">
            <a:normAutofit/>
          </a:bodyPr>
          <a:lstStyle>
            <a:lvl1pPr marL="0" indent="0" algn="r">
              <a:buNone/>
              <a:defRPr sz="1600">
                <a:solidFill>
                  <a:schemeClr val="accent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</a:t>
            </a:r>
          </a:p>
        </p:txBody>
      </p:sp>
      <p:pic>
        <p:nvPicPr>
          <p:cNvPr id="4" name="Picture 3" descr="TN Division of TennCare ColorPMS ®.ep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925" y="3083704"/>
            <a:ext cx="1841290" cy="742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0726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Georgia" panose="02040502050405020303" pitchFamily="18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56532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194625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3732600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3086833" y="6217105"/>
            <a:ext cx="4873799" cy="484305"/>
            <a:chOff x="1663" y="3109"/>
            <a:chExt cx="3109" cy="29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9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30279" y="4122533"/>
            <a:ext cx="7530353" cy="492443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3200" b="1" cap="all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30279" y="5292998"/>
            <a:ext cx="7530353" cy="246221"/>
          </a:xfrm>
        </p:spPr>
        <p:txBody>
          <a:bodyPr wrap="square" anchor="t">
            <a:spAutoFit/>
          </a:bodyPr>
          <a:lstStyle>
            <a:lvl1pPr algn="r">
              <a:defRPr sz="1600" cap="all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8298444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914400" y="2449286"/>
            <a:ext cx="7315200" cy="1567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6385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58157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64215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85919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/>
          <p:cNvCxnSpPr/>
          <p:nvPr userDrawn="1"/>
        </p:nvCxnSpPr>
        <p:spPr>
          <a:xfrm>
            <a:off x="4601168" y="3124200"/>
            <a:ext cx="0" cy="790575"/>
          </a:xfrm>
          <a:prstGeom prst="line">
            <a:avLst/>
          </a:prstGeom>
          <a:ln>
            <a:solidFill>
              <a:srgbClr val="7E7E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800600" y="3334821"/>
            <a:ext cx="3581400" cy="369332"/>
          </a:xfrm>
        </p:spPr>
        <p:txBody>
          <a:bodyPr anchor="ctr" anchorCtr="0">
            <a:spAutoFit/>
          </a:bodyPr>
          <a:lstStyle>
            <a:lvl1pPr algn="l"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Title</a:t>
            </a:r>
            <a:endParaRPr lang="en-JM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1066800" y="2975419"/>
            <a:ext cx="3334935" cy="1088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75474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6658850"/>
              </p:ext>
            </p:extLst>
          </p:nvPr>
        </p:nvGraphicFramePr>
        <p:xfrm>
          <a:off x="162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3902649" y="4993073"/>
            <a:ext cx="4873799" cy="494026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  <a:sym typeface="Open Sans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  <a:sym typeface="Open Sans"/>
                </a:rPr>
                <a:t>Dat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8298445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  <a:sym typeface="Open Sans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" y="2449286"/>
            <a:ext cx="7315200" cy="1567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28676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3089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0021098"/>
              </p:ext>
            </p:extLst>
          </p:nvPr>
        </p:nvGraphicFramePr>
        <p:xfrm>
          <a:off x="1623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3" y="162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39663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719602" y="6566446"/>
            <a:ext cx="199240" cy="155496"/>
          </a:xfrm>
          <a:prstGeom prst="rect">
            <a:avLst/>
          </a:prstGeom>
        </p:spPr>
        <p:txBody>
          <a:bodyPr/>
          <a:lstStyle>
            <a:lvl1pPr>
              <a:defRPr>
                <a:latin typeface="Open Sans"/>
                <a:sym typeface="Open San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0861E65E-0C68-43BC-96BC-FB6157496483}" type="slidenum">
              <a:rPr lang="en-US" sz="1600" smtClean="0">
                <a:solidFill>
                  <a:srgbClr val="7E7E82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sz="1600" smtClean="0">
                <a:solidFill>
                  <a:srgbClr val="7E7E82"/>
                </a:solidFill>
              </a:rPr>
              <a:t> </a:t>
            </a:r>
            <a:endParaRPr lang="en-US" sz="1600">
              <a:solidFill>
                <a:srgbClr val="7E7E8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07268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idx="1"/>
          </p:nvPr>
        </p:nvSpPr>
        <p:spPr>
          <a:xfrm>
            <a:off x="457200" y="1701805"/>
            <a:ext cx="8229600" cy="41655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>
              <a:buFont typeface="Arial" panose="020B0604020202020204" pitchFamily="34" charset="0"/>
              <a:buChar char="•"/>
              <a:defRPr>
                <a:solidFill>
                  <a:schemeClr val="accent5"/>
                </a:solidFill>
              </a:defRPr>
            </a:lvl1pPr>
            <a:lvl2pPr marL="742950" indent="-285750">
              <a:buFont typeface="Calibri" panose="020F0502020204030204" pitchFamily="34" charset="0"/>
              <a:buChar char="▫"/>
              <a:defRPr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JM" dirty="0"/>
          </a:p>
        </p:txBody>
      </p:sp>
    </p:spTree>
    <p:extLst>
      <p:ext uri="{BB962C8B-B14F-4D97-AF65-F5344CB8AC3E}">
        <p14:creationId xmlns:p14="http://schemas.microsoft.com/office/powerpoint/2010/main" val="631099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4358550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Straight Connector 18"/>
          <p:cNvCxnSpPr>
            <a:cxnSpLocks/>
          </p:cNvCxnSpPr>
          <p:nvPr userDrawn="1"/>
        </p:nvCxnSpPr>
        <p:spPr>
          <a:xfrm>
            <a:off x="3732112" y="3017217"/>
            <a:ext cx="0" cy="806633"/>
          </a:xfrm>
          <a:prstGeom prst="line">
            <a:avLst/>
          </a:prstGeom>
          <a:ln>
            <a:solidFill>
              <a:srgbClr val="7E7E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3938508" y="5352894"/>
            <a:ext cx="5036085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938508" y="2912703"/>
            <a:ext cx="5036084" cy="1015663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defRPr sz="3300" b="1" cap="all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938508" y="4402416"/>
            <a:ext cx="5036084" cy="219820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8298444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  <p:pic>
        <p:nvPicPr>
          <p:cNvPr id="16493" name="Picture 109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3257" y="2865415"/>
            <a:ext cx="3403285" cy="11127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61170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0568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7997565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3086833" y="6217105"/>
            <a:ext cx="4873799" cy="484305"/>
            <a:chOff x="1663" y="3109"/>
            <a:chExt cx="3109" cy="29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9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30279" y="4122533"/>
            <a:ext cx="7530353" cy="492443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3200" b="1" cap="all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30279" y="5292998"/>
            <a:ext cx="7530353" cy="246221"/>
          </a:xfrm>
        </p:spPr>
        <p:txBody>
          <a:bodyPr wrap="square" anchor="t">
            <a:spAutoFit/>
          </a:bodyPr>
          <a:lstStyle>
            <a:lvl1pPr algn="r">
              <a:defRPr sz="1600" cap="all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8298444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914400" y="2449286"/>
            <a:ext cx="7315200" cy="1567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495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94315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95138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26994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/>
          <p:cNvCxnSpPr/>
          <p:nvPr userDrawn="1"/>
        </p:nvCxnSpPr>
        <p:spPr>
          <a:xfrm>
            <a:off x="4601168" y="3124200"/>
            <a:ext cx="0" cy="790575"/>
          </a:xfrm>
          <a:prstGeom prst="line">
            <a:avLst/>
          </a:prstGeom>
          <a:ln>
            <a:solidFill>
              <a:srgbClr val="7E7E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800600" y="3334821"/>
            <a:ext cx="3581400" cy="369332"/>
          </a:xfrm>
        </p:spPr>
        <p:txBody>
          <a:bodyPr anchor="ctr" anchorCtr="0">
            <a:spAutoFit/>
          </a:bodyPr>
          <a:lstStyle>
            <a:lvl1pPr algn="l"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Title</a:t>
            </a:r>
            <a:endParaRPr lang="en-JM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1066800" y="2975419"/>
            <a:ext cx="3334935" cy="1088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9903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3807129"/>
              </p:ext>
            </p:extLst>
          </p:nvPr>
        </p:nvGraphicFramePr>
        <p:xfrm>
          <a:off x="162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3902649" y="4993073"/>
            <a:ext cx="4873799" cy="494026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  <a:sym typeface="Open Sans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  <a:sym typeface="Open Sans"/>
                </a:rPr>
                <a:t>Dat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8298445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  <a:sym typeface="Open Sans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" y="2449286"/>
            <a:ext cx="7315200" cy="1567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73630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43666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8010585"/>
              </p:ext>
            </p:extLst>
          </p:nvPr>
        </p:nvGraphicFramePr>
        <p:xfrm>
          <a:off x="1623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3" y="162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05924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719602" y="6566446"/>
            <a:ext cx="199240" cy="155496"/>
          </a:xfrm>
          <a:prstGeom prst="rect">
            <a:avLst/>
          </a:prstGeom>
        </p:spPr>
        <p:txBody>
          <a:bodyPr/>
          <a:lstStyle>
            <a:lvl1pPr>
              <a:defRPr>
                <a:latin typeface="Open Sans"/>
                <a:sym typeface="Open San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0861E65E-0C68-43BC-96BC-FB6157496483}" type="slidenum">
              <a:rPr lang="en-US" sz="1600" smtClean="0">
                <a:solidFill>
                  <a:srgbClr val="7E7E82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sz="1600" smtClean="0">
                <a:solidFill>
                  <a:srgbClr val="7E7E82"/>
                </a:solidFill>
              </a:rPr>
              <a:t> </a:t>
            </a:r>
            <a:endParaRPr lang="en-US" sz="1600">
              <a:solidFill>
                <a:srgbClr val="7E7E8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681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0784863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3086833" y="6217105"/>
            <a:ext cx="4873799" cy="484305"/>
            <a:chOff x="1663" y="3109"/>
            <a:chExt cx="3109" cy="29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9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30279" y="4122533"/>
            <a:ext cx="7530353" cy="492443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3200" b="1" cap="all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30279" y="5292998"/>
            <a:ext cx="7530353" cy="246221"/>
          </a:xfrm>
        </p:spPr>
        <p:txBody>
          <a:bodyPr wrap="square" anchor="t">
            <a:spAutoFit/>
          </a:bodyPr>
          <a:lstStyle>
            <a:lvl1pPr algn="r">
              <a:defRPr sz="1600" cap="all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8298444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914400" y="2449286"/>
            <a:ext cx="7315200" cy="1567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76349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lumn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57200" y="1676400"/>
            <a:ext cx="4038600" cy="4191000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  <a:lvl2pPr>
              <a:defRPr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Content Placeholder 3"/>
          <p:cNvSpPr>
            <a:spLocks noGrp="1"/>
          </p:cNvSpPr>
          <p:nvPr>
            <p:ph sz="quarter" idx="11"/>
          </p:nvPr>
        </p:nvSpPr>
        <p:spPr>
          <a:xfrm>
            <a:off x="4648200" y="1676400"/>
            <a:ext cx="4038600" cy="4191000"/>
          </a:xfrm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  <a:lvl2pPr>
              <a:defRPr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171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14622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67471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72885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/>
          <p:cNvCxnSpPr/>
          <p:nvPr userDrawn="1"/>
        </p:nvCxnSpPr>
        <p:spPr>
          <a:xfrm>
            <a:off x="4601168" y="3124200"/>
            <a:ext cx="0" cy="790575"/>
          </a:xfrm>
          <a:prstGeom prst="line">
            <a:avLst/>
          </a:prstGeom>
          <a:ln>
            <a:solidFill>
              <a:srgbClr val="7E7E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800600" y="3334821"/>
            <a:ext cx="3581400" cy="369332"/>
          </a:xfrm>
        </p:spPr>
        <p:txBody>
          <a:bodyPr anchor="ctr" anchorCtr="0">
            <a:spAutoFit/>
          </a:bodyPr>
          <a:lstStyle>
            <a:lvl1pPr algn="l"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Title</a:t>
            </a:r>
            <a:endParaRPr lang="en-JM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1066800" y="2975419"/>
            <a:ext cx="3334935" cy="1088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58979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7526714"/>
              </p:ext>
            </p:extLst>
          </p:nvPr>
        </p:nvGraphicFramePr>
        <p:xfrm>
          <a:off x="162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3902649" y="4993073"/>
            <a:ext cx="4873799" cy="494026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  <a:sym typeface="Open Sans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  <a:sym typeface="Open Sans"/>
                </a:rPr>
                <a:t>Dat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8298445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  <a:sym typeface="Open Sans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" y="2449286"/>
            <a:ext cx="7315200" cy="1567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1383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14714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6464885"/>
              </p:ext>
            </p:extLst>
          </p:nvPr>
        </p:nvGraphicFramePr>
        <p:xfrm>
          <a:off x="1623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3" y="162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33545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719602" y="6566446"/>
            <a:ext cx="199240" cy="155496"/>
          </a:xfrm>
          <a:prstGeom prst="rect">
            <a:avLst/>
          </a:prstGeom>
        </p:spPr>
        <p:txBody>
          <a:bodyPr/>
          <a:lstStyle>
            <a:lvl1pPr>
              <a:defRPr>
                <a:latin typeface="Open Sans"/>
                <a:sym typeface="Open San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0861E65E-0C68-43BC-96BC-FB6157496483}" type="slidenum">
              <a:rPr lang="en-US" sz="1600" smtClean="0">
                <a:solidFill>
                  <a:srgbClr val="7E7E82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sz="1600" smtClean="0">
                <a:solidFill>
                  <a:srgbClr val="7E7E82"/>
                </a:solidFill>
              </a:rPr>
              <a:t> </a:t>
            </a:r>
            <a:endParaRPr lang="en-US" sz="1600">
              <a:solidFill>
                <a:srgbClr val="7E7E8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71882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6041267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3086833" y="6217105"/>
            <a:ext cx="4873799" cy="484305"/>
            <a:chOff x="1663" y="3109"/>
            <a:chExt cx="3109" cy="29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9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30279" y="4122533"/>
            <a:ext cx="7530353" cy="492443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3200" b="1" cap="all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30279" y="5292998"/>
            <a:ext cx="7530353" cy="246221"/>
          </a:xfrm>
        </p:spPr>
        <p:txBody>
          <a:bodyPr wrap="square" anchor="t">
            <a:spAutoFit/>
          </a:bodyPr>
          <a:lstStyle>
            <a:lvl1pPr algn="r">
              <a:defRPr sz="1600" cap="all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8298444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914400" y="2449286"/>
            <a:ext cx="7315200" cy="1567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7936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79206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6809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82912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/>
          <p:cNvCxnSpPr/>
          <p:nvPr userDrawn="1"/>
        </p:nvCxnSpPr>
        <p:spPr>
          <a:xfrm>
            <a:off x="4601168" y="3124200"/>
            <a:ext cx="0" cy="790575"/>
          </a:xfrm>
          <a:prstGeom prst="line">
            <a:avLst/>
          </a:prstGeom>
          <a:ln>
            <a:solidFill>
              <a:srgbClr val="7E7E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800600" y="3334821"/>
            <a:ext cx="3581400" cy="369332"/>
          </a:xfrm>
        </p:spPr>
        <p:txBody>
          <a:bodyPr anchor="ctr" anchorCtr="0">
            <a:spAutoFit/>
          </a:bodyPr>
          <a:lstStyle>
            <a:lvl1pPr algn="l"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Title</a:t>
            </a:r>
            <a:endParaRPr lang="en-JM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1066800" y="2975419"/>
            <a:ext cx="3334935" cy="1088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37120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2796169"/>
              </p:ext>
            </p:extLst>
          </p:nvPr>
        </p:nvGraphicFramePr>
        <p:xfrm>
          <a:off x="162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3902649" y="4993073"/>
            <a:ext cx="4873799" cy="494026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  <a:sym typeface="Open Sans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  <a:sym typeface="Open Sans"/>
                </a:rPr>
                <a:t>Dat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8298445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  <a:sym typeface="Open Sans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" y="2449286"/>
            <a:ext cx="7315200" cy="1567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53958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4572000" y="3124200"/>
            <a:ext cx="0" cy="790575"/>
          </a:xfrm>
          <a:prstGeom prst="line">
            <a:avLst/>
          </a:prstGeom>
          <a:ln>
            <a:solidFill>
              <a:srgbClr val="7E7E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800600" y="3276600"/>
            <a:ext cx="3581400" cy="457200"/>
          </a:xfrm>
        </p:spPr>
        <p:txBody>
          <a:bodyPr anchor="t">
            <a:noAutofit/>
          </a:bodyPr>
          <a:lstStyle>
            <a:lvl1pPr algn="l">
              <a:defRPr sz="2400" b="1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JM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0" y="2975419"/>
            <a:ext cx="3334935" cy="1088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025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7345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67257"/>
              </p:ext>
            </p:extLst>
          </p:nvPr>
        </p:nvGraphicFramePr>
        <p:xfrm>
          <a:off x="1623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3" y="162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64578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719602" y="6566446"/>
            <a:ext cx="199240" cy="155496"/>
          </a:xfrm>
          <a:prstGeom prst="rect">
            <a:avLst/>
          </a:prstGeom>
        </p:spPr>
        <p:txBody>
          <a:bodyPr/>
          <a:lstStyle>
            <a:lvl1pPr>
              <a:defRPr>
                <a:latin typeface="Open Sans"/>
                <a:sym typeface="Open San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0861E65E-0C68-43BC-96BC-FB6157496483}" type="slidenum">
              <a:rPr lang="en-US" sz="1600" smtClean="0">
                <a:solidFill>
                  <a:srgbClr val="7E7E82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sz="1600" smtClean="0">
                <a:solidFill>
                  <a:srgbClr val="7E7E82"/>
                </a:solidFill>
              </a:rPr>
              <a:t> </a:t>
            </a:r>
            <a:endParaRPr lang="en-US" sz="1600">
              <a:solidFill>
                <a:srgbClr val="7E7E8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1432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4519354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3086833" y="6217105"/>
            <a:ext cx="4873799" cy="484305"/>
            <a:chOff x="1663" y="3109"/>
            <a:chExt cx="3109" cy="29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9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30279" y="4122533"/>
            <a:ext cx="7530353" cy="492443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3200" b="1" cap="all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30279" y="5292998"/>
            <a:ext cx="7530353" cy="246221"/>
          </a:xfrm>
        </p:spPr>
        <p:txBody>
          <a:bodyPr wrap="square" anchor="t">
            <a:spAutoFit/>
          </a:bodyPr>
          <a:lstStyle>
            <a:lvl1pPr algn="r">
              <a:defRPr sz="1600" cap="all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8298444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914400" y="2449286"/>
            <a:ext cx="7315200" cy="1567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51367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30301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37432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74339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/>
          <p:cNvCxnSpPr/>
          <p:nvPr userDrawn="1"/>
        </p:nvCxnSpPr>
        <p:spPr>
          <a:xfrm>
            <a:off x="4601168" y="3124200"/>
            <a:ext cx="0" cy="790575"/>
          </a:xfrm>
          <a:prstGeom prst="line">
            <a:avLst/>
          </a:prstGeom>
          <a:ln>
            <a:solidFill>
              <a:srgbClr val="7E7E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800600" y="3334821"/>
            <a:ext cx="3581400" cy="369332"/>
          </a:xfrm>
        </p:spPr>
        <p:txBody>
          <a:bodyPr anchor="ctr" anchorCtr="0">
            <a:spAutoFit/>
          </a:bodyPr>
          <a:lstStyle>
            <a:lvl1pPr algn="l"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Title</a:t>
            </a:r>
            <a:endParaRPr lang="en-JM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1066800" y="2975419"/>
            <a:ext cx="3334935" cy="1088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2187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6122824"/>
              </p:ext>
            </p:extLst>
          </p:nvPr>
        </p:nvGraphicFramePr>
        <p:xfrm>
          <a:off x="162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3902649" y="4993073"/>
            <a:ext cx="4873799" cy="494026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  <a:sym typeface="Open Sans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  <a:sym typeface="Open Sans"/>
                </a:rPr>
                <a:t>Dat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8298445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  <a:sym typeface="Open Sans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" y="2449286"/>
            <a:ext cx="7315200" cy="1567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1023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37600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341586"/>
              </p:ext>
            </p:extLst>
          </p:nvPr>
        </p:nvGraphicFramePr>
        <p:xfrm>
          <a:off x="1623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3" y="162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81769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719602" y="6566446"/>
            <a:ext cx="199240" cy="155496"/>
          </a:xfrm>
          <a:prstGeom prst="rect">
            <a:avLst/>
          </a:prstGeom>
        </p:spPr>
        <p:txBody>
          <a:bodyPr/>
          <a:lstStyle>
            <a:lvl1pPr>
              <a:defRPr>
                <a:latin typeface="Open Sans"/>
                <a:sym typeface="Open San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0861E65E-0C68-43BC-96BC-FB6157496483}" type="slidenum">
              <a:rPr lang="en-US" sz="1600" smtClean="0">
                <a:solidFill>
                  <a:srgbClr val="7E7E82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sz="1600" smtClean="0">
                <a:solidFill>
                  <a:srgbClr val="7E7E82"/>
                </a:solidFill>
              </a:rPr>
              <a:t> </a:t>
            </a:r>
            <a:endParaRPr lang="en-US" sz="1600">
              <a:solidFill>
                <a:srgbClr val="7E7E8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4505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75537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8775955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3086833" y="6217105"/>
            <a:ext cx="4873799" cy="484305"/>
            <a:chOff x="1663" y="3109"/>
            <a:chExt cx="3109" cy="29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9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30279" y="4122533"/>
            <a:ext cx="7530353" cy="492443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3200" b="1" cap="all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30279" y="5292998"/>
            <a:ext cx="7530353" cy="246221"/>
          </a:xfrm>
        </p:spPr>
        <p:txBody>
          <a:bodyPr wrap="square" anchor="t">
            <a:spAutoFit/>
          </a:bodyPr>
          <a:lstStyle>
            <a:lvl1pPr algn="r">
              <a:defRPr sz="1600" cap="all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8298444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914400" y="2449286"/>
            <a:ext cx="7315200" cy="1567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88743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64567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50998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5683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/>
          <p:cNvCxnSpPr/>
          <p:nvPr userDrawn="1"/>
        </p:nvCxnSpPr>
        <p:spPr>
          <a:xfrm>
            <a:off x="4601168" y="3124200"/>
            <a:ext cx="0" cy="790575"/>
          </a:xfrm>
          <a:prstGeom prst="line">
            <a:avLst/>
          </a:prstGeom>
          <a:ln>
            <a:solidFill>
              <a:srgbClr val="7E7E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800600" y="3334821"/>
            <a:ext cx="3581400" cy="369332"/>
          </a:xfrm>
        </p:spPr>
        <p:txBody>
          <a:bodyPr anchor="ctr" anchorCtr="0">
            <a:spAutoFit/>
          </a:bodyPr>
          <a:lstStyle>
            <a:lvl1pPr algn="l"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Title</a:t>
            </a:r>
            <a:endParaRPr lang="en-JM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1066800" y="2975419"/>
            <a:ext cx="3334935" cy="1088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6026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2259545"/>
              </p:ext>
            </p:extLst>
          </p:nvPr>
        </p:nvGraphicFramePr>
        <p:xfrm>
          <a:off x="162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3902649" y="4993073"/>
            <a:ext cx="4873799" cy="494026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  <a:sym typeface="Open Sans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  <a:sym typeface="Open Sans"/>
                </a:rPr>
                <a:t>Dat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8298445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  <a:sym typeface="Open Sans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" y="2449286"/>
            <a:ext cx="7315200" cy="1567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251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00049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6490168"/>
              </p:ext>
            </p:extLst>
          </p:nvPr>
        </p:nvGraphicFramePr>
        <p:xfrm>
          <a:off x="1623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3" y="162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21450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9117826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3086833" y="6217105"/>
            <a:ext cx="4873799" cy="484305"/>
            <a:chOff x="1663" y="3109"/>
            <a:chExt cx="3109" cy="29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9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30279" y="4122533"/>
            <a:ext cx="7530353" cy="492443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3200" b="1" cap="all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30279" y="5292998"/>
            <a:ext cx="7530353" cy="246221"/>
          </a:xfrm>
        </p:spPr>
        <p:txBody>
          <a:bodyPr wrap="square" anchor="t">
            <a:spAutoFit/>
          </a:bodyPr>
          <a:lstStyle>
            <a:lvl1pPr algn="r">
              <a:defRPr sz="1600" cap="all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8298444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914400" y="2449286"/>
            <a:ext cx="7315200" cy="1567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47695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25912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40255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10386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/>
          <p:cNvCxnSpPr/>
          <p:nvPr userDrawn="1"/>
        </p:nvCxnSpPr>
        <p:spPr>
          <a:xfrm>
            <a:off x="4601168" y="3124200"/>
            <a:ext cx="0" cy="790575"/>
          </a:xfrm>
          <a:prstGeom prst="line">
            <a:avLst/>
          </a:prstGeom>
          <a:ln>
            <a:solidFill>
              <a:srgbClr val="7E7E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800600" y="3334821"/>
            <a:ext cx="3581400" cy="369332"/>
          </a:xfrm>
        </p:spPr>
        <p:txBody>
          <a:bodyPr anchor="ctr" anchorCtr="0">
            <a:spAutoFit/>
          </a:bodyPr>
          <a:lstStyle>
            <a:lvl1pPr algn="l"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Title</a:t>
            </a:r>
            <a:endParaRPr lang="en-JM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1066800" y="2975419"/>
            <a:ext cx="3334935" cy="1088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82832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951740"/>
              </p:ext>
            </p:extLst>
          </p:nvPr>
        </p:nvGraphicFramePr>
        <p:xfrm>
          <a:off x="162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3902649" y="4993073"/>
            <a:ext cx="4873799" cy="494026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  <a:sym typeface="Open Sans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  <a:sym typeface="Open Sans"/>
                </a:rPr>
                <a:t>Dat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8298445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  <a:sym typeface="Open Sans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" y="2449286"/>
            <a:ext cx="7315200" cy="1567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4832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3056008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9" name="Straight Connector 18"/>
          <p:cNvCxnSpPr>
            <a:cxnSpLocks/>
          </p:cNvCxnSpPr>
          <p:nvPr userDrawn="1"/>
        </p:nvCxnSpPr>
        <p:spPr>
          <a:xfrm>
            <a:off x="3732112" y="3017217"/>
            <a:ext cx="0" cy="806633"/>
          </a:xfrm>
          <a:prstGeom prst="line">
            <a:avLst/>
          </a:prstGeom>
          <a:ln>
            <a:solidFill>
              <a:srgbClr val="7E7E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3938508" y="5352894"/>
            <a:ext cx="5036085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938508" y="2912703"/>
            <a:ext cx="5036084" cy="1015663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defRPr sz="3300" b="1" cap="all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938508" y="4402416"/>
            <a:ext cx="5036084" cy="219820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8298444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  <p:pic>
        <p:nvPicPr>
          <p:cNvPr id="16493" name="Picture 109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3257" y="2865415"/>
            <a:ext cx="3403285" cy="11127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910000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943282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8693183"/>
              </p:ext>
            </p:extLst>
          </p:nvPr>
        </p:nvGraphicFramePr>
        <p:xfrm>
          <a:off x="1623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3" y="162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211351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719602" y="6566446"/>
            <a:ext cx="199240" cy="155496"/>
          </a:xfrm>
          <a:prstGeom prst="rect">
            <a:avLst/>
          </a:prstGeom>
        </p:spPr>
        <p:txBody>
          <a:bodyPr/>
          <a:lstStyle>
            <a:lvl1pPr>
              <a:defRPr>
                <a:latin typeface="Open Sans"/>
                <a:sym typeface="Open San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0861E65E-0C68-43BC-96BC-FB6157496483}" type="slidenum">
              <a:rPr lang="en-US" sz="1600" smtClean="0">
                <a:solidFill>
                  <a:srgbClr val="7E7E82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sz="1600" smtClean="0">
                <a:solidFill>
                  <a:srgbClr val="7E7E82"/>
                </a:solidFill>
              </a:rPr>
              <a:t> </a:t>
            </a:r>
            <a:endParaRPr lang="en-US" sz="1600">
              <a:solidFill>
                <a:srgbClr val="7E7E8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189988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851994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3086833" y="6217105"/>
            <a:ext cx="4873799" cy="484305"/>
            <a:chOff x="1663" y="3109"/>
            <a:chExt cx="3109" cy="29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9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30279" y="4122533"/>
            <a:ext cx="7530353" cy="492443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3200" b="1" cap="all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30279" y="5292998"/>
            <a:ext cx="7530353" cy="246221"/>
          </a:xfrm>
        </p:spPr>
        <p:txBody>
          <a:bodyPr wrap="square" anchor="t">
            <a:spAutoFit/>
          </a:bodyPr>
          <a:lstStyle>
            <a:lvl1pPr algn="r">
              <a:defRPr sz="1600" cap="all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8298444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914400" y="2449286"/>
            <a:ext cx="7315200" cy="1567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34419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11121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08463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95161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/>
          <p:cNvCxnSpPr/>
          <p:nvPr userDrawn="1"/>
        </p:nvCxnSpPr>
        <p:spPr>
          <a:xfrm>
            <a:off x="4601168" y="3124200"/>
            <a:ext cx="0" cy="790575"/>
          </a:xfrm>
          <a:prstGeom prst="line">
            <a:avLst/>
          </a:prstGeom>
          <a:ln>
            <a:solidFill>
              <a:srgbClr val="7E7E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800600" y="3334821"/>
            <a:ext cx="3581400" cy="369332"/>
          </a:xfrm>
        </p:spPr>
        <p:txBody>
          <a:bodyPr anchor="ctr" anchorCtr="0">
            <a:spAutoFit/>
          </a:bodyPr>
          <a:lstStyle>
            <a:lvl1pPr algn="l"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Title</a:t>
            </a:r>
            <a:endParaRPr lang="en-JM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1066800" y="2975419"/>
            <a:ext cx="3334935" cy="1088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93343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2912541"/>
              </p:ext>
            </p:extLst>
          </p:nvPr>
        </p:nvGraphicFramePr>
        <p:xfrm>
          <a:off x="162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3902649" y="4993073"/>
            <a:ext cx="4873799" cy="494026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  <a:sym typeface="Open Sans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  <a:sym typeface="Open Sans"/>
                </a:rPr>
                <a:t>Dat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8298445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  <a:sym typeface="Open Sans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" y="2449286"/>
            <a:ext cx="7315200" cy="1567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4348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847847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8334260"/>
              </p:ext>
            </p:extLst>
          </p:nvPr>
        </p:nvGraphicFramePr>
        <p:xfrm>
          <a:off x="1623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3" y="162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95332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719602" y="6566446"/>
            <a:ext cx="199240" cy="155496"/>
          </a:xfrm>
          <a:prstGeom prst="rect">
            <a:avLst/>
          </a:prstGeom>
        </p:spPr>
        <p:txBody>
          <a:bodyPr/>
          <a:lstStyle>
            <a:lvl1pPr>
              <a:defRPr>
                <a:latin typeface="Open Sans"/>
                <a:sym typeface="Open San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0861E65E-0C68-43BC-96BC-FB6157496483}" type="slidenum">
              <a:rPr lang="en-US" sz="1600" smtClean="0">
                <a:solidFill>
                  <a:srgbClr val="7E7E82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sz="1600" smtClean="0">
                <a:solidFill>
                  <a:srgbClr val="7E7E82"/>
                </a:solidFill>
              </a:rPr>
              <a:t> </a:t>
            </a:r>
            <a:endParaRPr lang="en-US" sz="1600">
              <a:solidFill>
                <a:srgbClr val="7E7E8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3614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0803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1713405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3086833" y="6217105"/>
            <a:ext cx="4873799" cy="484305"/>
            <a:chOff x="1663" y="3109"/>
            <a:chExt cx="3109" cy="29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9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30279" y="4122533"/>
            <a:ext cx="7530353" cy="492443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3200" b="1" cap="all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30279" y="5292998"/>
            <a:ext cx="7530353" cy="246221"/>
          </a:xfrm>
        </p:spPr>
        <p:txBody>
          <a:bodyPr wrap="square" anchor="t">
            <a:spAutoFit/>
          </a:bodyPr>
          <a:lstStyle>
            <a:lvl1pPr algn="r">
              <a:defRPr sz="1600" cap="all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8298444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914400" y="2449286"/>
            <a:ext cx="7315200" cy="1567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55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14894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52782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76924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/>
          <p:cNvCxnSpPr/>
          <p:nvPr userDrawn="1"/>
        </p:nvCxnSpPr>
        <p:spPr>
          <a:xfrm>
            <a:off x="4601168" y="3124200"/>
            <a:ext cx="0" cy="790575"/>
          </a:xfrm>
          <a:prstGeom prst="line">
            <a:avLst/>
          </a:prstGeom>
          <a:ln>
            <a:solidFill>
              <a:srgbClr val="7E7E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800600" y="3334821"/>
            <a:ext cx="3581400" cy="369332"/>
          </a:xfrm>
        </p:spPr>
        <p:txBody>
          <a:bodyPr anchor="ctr" anchorCtr="0">
            <a:spAutoFit/>
          </a:bodyPr>
          <a:lstStyle>
            <a:lvl1pPr algn="l"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Title</a:t>
            </a:r>
            <a:endParaRPr lang="en-JM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1066800" y="2975419"/>
            <a:ext cx="3334935" cy="1088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7121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282287"/>
              </p:ext>
            </p:extLst>
          </p:nvPr>
        </p:nvGraphicFramePr>
        <p:xfrm>
          <a:off x="162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3902649" y="4993073"/>
            <a:ext cx="4873799" cy="494026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  <a:sym typeface="Open Sans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  <a:sym typeface="Open Sans"/>
                </a:rPr>
                <a:t>Dat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8298445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  <a:sym typeface="Open Sans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" y="2449286"/>
            <a:ext cx="7315200" cy="1567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8951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029244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9946039"/>
              </p:ext>
            </p:extLst>
          </p:nvPr>
        </p:nvGraphicFramePr>
        <p:xfrm>
          <a:off x="1623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3" y="162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60065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719602" y="6566446"/>
            <a:ext cx="199240" cy="155496"/>
          </a:xfrm>
          <a:prstGeom prst="rect">
            <a:avLst/>
          </a:prstGeom>
        </p:spPr>
        <p:txBody>
          <a:bodyPr/>
          <a:lstStyle>
            <a:lvl1pPr>
              <a:defRPr>
                <a:latin typeface="Open Sans"/>
                <a:sym typeface="Open San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0861E65E-0C68-43BC-96BC-FB6157496483}" type="slidenum">
              <a:rPr lang="en-US" sz="1600" smtClean="0">
                <a:solidFill>
                  <a:srgbClr val="7E7E82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sz="1600" smtClean="0">
                <a:solidFill>
                  <a:srgbClr val="7E7E82"/>
                </a:solidFill>
              </a:rPr>
              <a:t> </a:t>
            </a:r>
            <a:endParaRPr lang="en-US" sz="1600">
              <a:solidFill>
                <a:srgbClr val="7E7E8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260806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2513194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3086833" y="6217105"/>
            <a:ext cx="4873799" cy="484305"/>
            <a:chOff x="1663" y="3109"/>
            <a:chExt cx="3109" cy="29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9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30279" y="4122533"/>
            <a:ext cx="7530353" cy="492443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3200" b="1" cap="all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30279" y="5292998"/>
            <a:ext cx="7530353" cy="246221"/>
          </a:xfrm>
        </p:spPr>
        <p:txBody>
          <a:bodyPr wrap="square" anchor="t">
            <a:spAutoFit/>
          </a:bodyPr>
          <a:lstStyle>
            <a:lvl1pPr algn="r">
              <a:defRPr sz="1600" cap="all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8298444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914400" y="2449286"/>
            <a:ext cx="7315200" cy="1567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32015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28353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7865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60956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/>
          <p:cNvCxnSpPr/>
          <p:nvPr userDrawn="1"/>
        </p:nvCxnSpPr>
        <p:spPr>
          <a:xfrm>
            <a:off x="4601168" y="3124200"/>
            <a:ext cx="0" cy="790575"/>
          </a:xfrm>
          <a:prstGeom prst="line">
            <a:avLst/>
          </a:prstGeom>
          <a:ln>
            <a:solidFill>
              <a:srgbClr val="7E7E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800600" y="3334821"/>
            <a:ext cx="3581400" cy="369332"/>
          </a:xfrm>
        </p:spPr>
        <p:txBody>
          <a:bodyPr anchor="ctr" anchorCtr="0">
            <a:spAutoFit/>
          </a:bodyPr>
          <a:lstStyle>
            <a:lvl1pPr algn="l"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Title</a:t>
            </a:r>
            <a:endParaRPr lang="en-JM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1066800" y="2975419"/>
            <a:ext cx="3334935" cy="1088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03161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6477000" y="6096000"/>
            <a:ext cx="2133600" cy="457200"/>
          </a:xfrm>
        </p:spPr>
        <p:txBody>
          <a:bodyPr anchor="b">
            <a:normAutofit/>
          </a:bodyPr>
          <a:lstStyle>
            <a:lvl1pPr marL="0" indent="0" algn="r">
              <a:buNone/>
              <a:defRPr sz="1600">
                <a:solidFill>
                  <a:schemeClr val="accent5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" y="2449285"/>
            <a:ext cx="7315200" cy="1567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6781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8915796"/>
              </p:ext>
            </p:extLst>
          </p:nvPr>
        </p:nvGraphicFramePr>
        <p:xfrm>
          <a:off x="162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3902649" y="4993073"/>
            <a:ext cx="4873799" cy="494026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  <a:sym typeface="Open Sans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  <a:sym typeface="Open Sans"/>
                </a:rPr>
                <a:t>Dat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8298445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  <a:sym typeface="Open Sans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" y="2449286"/>
            <a:ext cx="7315200" cy="1567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02042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781485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7888826"/>
              </p:ext>
            </p:extLst>
          </p:nvPr>
        </p:nvGraphicFramePr>
        <p:xfrm>
          <a:off x="1623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3" y="162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437313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719602" y="6566446"/>
            <a:ext cx="199240" cy="155496"/>
          </a:xfrm>
          <a:prstGeom prst="rect">
            <a:avLst/>
          </a:prstGeom>
        </p:spPr>
        <p:txBody>
          <a:bodyPr/>
          <a:lstStyle>
            <a:lvl1pPr>
              <a:defRPr>
                <a:latin typeface="Open Sans"/>
                <a:sym typeface="Open San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0861E65E-0C68-43BC-96BC-FB6157496483}" type="slidenum">
              <a:rPr lang="en-US" sz="1600" smtClean="0">
                <a:solidFill>
                  <a:srgbClr val="7E7E82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sz="1600" smtClean="0">
                <a:solidFill>
                  <a:srgbClr val="7E7E82"/>
                </a:solidFill>
              </a:rPr>
              <a:t> </a:t>
            </a:r>
            <a:endParaRPr lang="en-US" sz="1600">
              <a:solidFill>
                <a:srgbClr val="7E7E8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270101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6002617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3086833" y="6217105"/>
            <a:ext cx="4873799" cy="484305"/>
            <a:chOff x="1663" y="3109"/>
            <a:chExt cx="3109" cy="29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9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30279" y="4122533"/>
            <a:ext cx="7530353" cy="492443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3200" b="1" cap="all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30279" y="5292998"/>
            <a:ext cx="7530353" cy="246221"/>
          </a:xfrm>
        </p:spPr>
        <p:txBody>
          <a:bodyPr wrap="square" anchor="t">
            <a:spAutoFit/>
          </a:bodyPr>
          <a:lstStyle>
            <a:lvl1pPr algn="r">
              <a:defRPr sz="1600" cap="all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8298444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914400" y="2449286"/>
            <a:ext cx="7315200" cy="1567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8696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47088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8567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58127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/>
          <p:cNvCxnSpPr/>
          <p:nvPr userDrawn="1"/>
        </p:nvCxnSpPr>
        <p:spPr>
          <a:xfrm>
            <a:off x="4601168" y="3124200"/>
            <a:ext cx="0" cy="790575"/>
          </a:xfrm>
          <a:prstGeom prst="line">
            <a:avLst/>
          </a:prstGeom>
          <a:ln>
            <a:solidFill>
              <a:srgbClr val="7E7E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800600" y="3334821"/>
            <a:ext cx="3581400" cy="369332"/>
          </a:xfrm>
        </p:spPr>
        <p:txBody>
          <a:bodyPr anchor="ctr" anchorCtr="0">
            <a:spAutoFit/>
          </a:bodyPr>
          <a:lstStyle>
            <a:lvl1pPr algn="l"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Title</a:t>
            </a:r>
            <a:endParaRPr lang="en-JM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1066800" y="2975419"/>
            <a:ext cx="3334935" cy="1088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12515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9714956"/>
              </p:ext>
            </p:extLst>
          </p:nvPr>
        </p:nvGraphicFramePr>
        <p:xfrm>
          <a:off x="162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3902649" y="4993073"/>
            <a:ext cx="4873799" cy="494026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  <a:sym typeface="Open Sans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  <a:sym typeface="Open Sans"/>
                </a:rPr>
                <a:t>Dat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8298445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  <a:sym typeface="Open Sans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" y="2449286"/>
            <a:ext cx="7315200" cy="1567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50556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3933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1036235"/>
              </p:ext>
            </p:extLst>
          </p:nvPr>
        </p:nvGraphicFramePr>
        <p:xfrm>
          <a:off x="1623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3" y="162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6589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idx="1"/>
          </p:nvPr>
        </p:nvSpPr>
        <p:spPr>
          <a:xfrm>
            <a:off x="457200" y="1701805"/>
            <a:ext cx="8229600" cy="41655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>
              <a:buFont typeface="Arial" panose="020B0604020202020204" pitchFamily="34" charset="0"/>
              <a:buChar char="•"/>
              <a:defRPr>
                <a:solidFill>
                  <a:schemeClr val="accent5"/>
                </a:solidFill>
              </a:defRPr>
            </a:lvl1pPr>
            <a:lvl2pPr marL="742950" indent="-285750">
              <a:buFont typeface="Calibri" panose="020F0502020204030204" pitchFamily="34" charset="0"/>
              <a:buChar char="▫"/>
              <a:defRPr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JM" dirty="0"/>
          </a:p>
        </p:txBody>
      </p:sp>
    </p:spTree>
    <p:extLst>
      <p:ext uri="{BB962C8B-B14F-4D97-AF65-F5344CB8AC3E}">
        <p14:creationId xmlns:p14="http://schemas.microsoft.com/office/powerpoint/2010/main" val="1246624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719602" y="6566446"/>
            <a:ext cx="199240" cy="155496"/>
          </a:xfrm>
          <a:prstGeom prst="rect">
            <a:avLst/>
          </a:prstGeom>
        </p:spPr>
        <p:txBody>
          <a:bodyPr/>
          <a:lstStyle>
            <a:lvl1pPr>
              <a:defRPr>
                <a:latin typeface="Open Sans"/>
                <a:sym typeface="Open San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0861E65E-0C68-43BC-96BC-FB6157496483}" type="slidenum">
              <a:rPr lang="en-US" sz="1600" smtClean="0">
                <a:solidFill>
                  <a:srgbClr val="7E7E82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sz="1600" smtClean="0">
                <a:solidFill>
                  <a:srgbClr val="7E7E82"/>
                </a:solidFill>
              </a:rPr>
              <a:t> </a:t>
            </a:r>
            <a:endParaRPr lang="en-US" sz="1600">
              <a:solidFill>
                <a:srgbClr val="7E7E8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70289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3086833" y="6217105"/>
            <a:ext cx="4873799" cy="484305"/>
            <a:chOff x="1663" y="3109"/>
            <a:chExt cx="3109" cy="29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9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30279" y="4122533"/>
            <a:ext cx="7530353" cy="492443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3200" b="1" cap="all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30279" y="5292998"/>
            <a:ext cx="7530353" cy="246221"/>
          </a:xfrm>
        </p:spPr>
        <p:txBody>
          <a:bodyPr wrap="square" anchor="t">
            <a:spAutoFit/>
          </a:bodyPr>
          <a:lstStyle>
            <a:lvl1pPr algn="r">
              <a:defRPr sz="1600" cap="all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8298444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914400" y="2449286"/>
            <a:ext cx="7315200" cy="1567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1659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02072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/>
          <p:cNvCxnSpPr/>
          <p:nvPr userDrawn="1"/>
        </p:nvCxnSpPr>
        <p:spPr>
          <a:xfrm>
            <a:off x="4601168" y="3124200"/>
            <a:ext cx="0" cy="790575"/>
          </a:xfrm>
          <a:prstGeom prst="line">
            <a:avLst/>
          </a:prstGeom>
          <a:ln>
            <a:solidFill>
              <a:srgbClr val="7E7E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800600" y="3334821"/>
            <a:ext cx="3581400" cy="369332"/>
          </a:xfrm>
        </p:spPr>
        <p:txBody>
          <a:bodyPr anchor="ctr" anchorCtr="0">
            <a:spAutoFit/>
          </a:bodyPr>
          <a:lstStyle>
            <a:lvl1pPr algn="l">
              <a:defRPr sz="2400" b="1" cap="all" baseline="0"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Title</a:t>
            </a:r>
            <a:endParaRPr lang="en-JM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1066800" y="2975419"/>
            <a:ext cx="3334935" cy="1088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78683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3902649" y="4993073"/>
            <a:ext cx="4873799" cy="494026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  <a:sym typeface="Open Sans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  <a:sym typeface="Open Sans"/>
                </a:rPr>
                <a:t>Dat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8298445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  <a:sym typeface="Open Sans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" y="2449286"/>
            <a:ext cx="7315200" cy="1567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5705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408011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3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3" y="162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554402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719602" y="6566446"/>
            <a:ext cx="199240" cy="155496"/>
          </a:xfrm>
          <a:prstGeom prst="rect">
            <a:avLst/>
          </a:prstGeom>
        </p:spPr>
        <p:txBody>
          <a:bodyPr/>
          <a:lstStyle>
            <a:lvl1pPr>
              <a:defRPr>
                <a:latin typeface="Open Sans"/>
                <a:sym typeface="Open San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0861E65E-0C68-43BC-96BC-FB6157496483}" type="slidenum">
              <a:rPr lang="en-US" sz="1600" smtClean="0">
                <a:solidFill>
                  <a:srgbClr val="7E7E82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sz="1600" smtClean="0">
                <a:solidFill>
                  <a:srgbClr val="7E7E82"/>
                </a:solidFill>
              </a:rPr>
              <a:t> </a:t>
            </a:r>
            <a:endParaRPr lang="en-US" sz="1600">
              <a:solidFill>
                <a:srgbClr val="7E7E8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132825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idx="1"/>
          </p:nvPr>
        </p:nvSpPr>
        <p:spPr>
          <a:xfrm>
            <a:off x="457200" y="1701810"/>
            <a:ext cx="8229600" cy="41655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57121" indent="-257121">
              <a:buFont typeface="Arial" panose="020B0604020202020204" pitchFamily="34" charset="0"/>
              <a:buChar char="•"/>
              <a:defRPr>
                <a:solidFill>
                  <a:schemeClr val="accent5"/>
                </a:solidFill>
              </a:defRPr>
            </a:lvl1pPr>
            <a:lvl2pPr marL="557095" indent="-214268">
              <a:buFont typeface="Calibri" panose="020F0502020204030204" pitchFamily="34" charset="0"/>
              <a:buChar char="▫"/>
              <a:defRPr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JM" dirty="0"/>
          </a:p>
        </p:txBody>
      </p:sp>
    </p:spTree>
    <p:extLst>
      <p:ext uri="{BB962C8B-B14F-4D97-AF65-F5344CB8AC3E}">
        <p14:creationId xmlns:p14="http://schemas.microsoft.com/office/powerpoint/2010/main" val="755532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3086833" y="6217105"/>
            <a:ext cx="4873799" cy="484305"/>
            <a:chOff x="1663" y="3109"/>
            <a:chExt cx="3109" cy="29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9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7E7E82"/>
                  </a:solidFill>
                  <a:latin typeface="Open Sans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430279" y="4122533"/>
            <a:ext cx="7530353" cy="492443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algn="r">
              <a:defRPr sz="3200" b="1" cap="all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430279" y="5292998"/>
            <a:ext cx="7530353" cy="246221"/>
          </a:xfrm>
        </p:spPr>
        <p:txBody>
          <a:bodyPr wrap="square" anchor="t">
            <a:spAutoFit/>
          </a:bodyPr>
          <a:lstStyle>
            <a:lvl1pPr algn="r">
              <a:defRPr sz="1600" cap="all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8298444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914400" y="2449286"/>
            <a:ext cx="7315200" cy="1567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216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40.vml"/><Relationship Id="rId13" Type="http://schemas.openxmlformats.org/officeDocument/2006/relationships/tags" Target="../tags/tag170.xml"/><Relationship Id="rId18" Type="http://schemas.openxmlformats.org/officeDocument/2006/relationships/tags" Target="../tags/tag175.xml"/><Relationship Id="rId26" Type="http://schemas.openxmlformats.org/officeDocument/2006/relationships/tags" Target="../tags/tag183.xml"/><Relationship Id="rId3" Type="http://schemas.openxmlformats.org/officeDocument/2006/relationships/slideLayout" Target="../slideLayouts/slideLayout52.xml"/><Relationship Id="rId21" Type="http://schemas.openxmlformats.org/officeDocument/2006/relationships/tags" Target="../tags/tag178.xml"/><Relationship Id="rId7" Type="http://schemas.openxmlformats.org/officeDocument/2006/relationships/theme" Target="../theme/theme10.xml"/><Relationship Id="rId12" Type="http://schemas.openxmlformats.org/officeDocument/2006/relationships/tags" Target="../tags/tag169.xml"/><Relationship Id="rId17" Type="http://schemas.openxmlformats.org/officeDocument/2006/relationships/tags" Target="../tags/tag174.xml"/><Relationship Id="rId25" Type="http://schemas.openxmlformats.org/officeDocument/2006/relationships/tags" Target="../tags/tag182.xml"/><Relationship Id="rId2" Type="http://schemas.openxmlformats.org/officeDocument/2006/relationships/slideLayout" Target="../slideLayouts/slideLayout51.xml"/><Relationship Id="rId16" Type="http://schemas.openxmlformats.org/officeDocument/2006/relationships/tags" Target="../tags/tag173.xml"/><Relationship Id="rId20" Type="http://schemas.openxmlformats.org/officeDocument/2006/relationships/tags" Target="../tags/tag177.xml"/><Relationship Id="rId29" Type="http://schemas.openxmlformats.org/officeDocument/2006/relationships/image" Target="../media/image4.emf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tags" Target="../tags/tag168.xml"/><Relationship Id="rId24" Type="http://schemas.openxmlformats.org/officeDocument/2006/relationships/tags" Target="../tags/tag181.xml"/><Relationship Id="rId5" Type="http://schemas.openxmlformats.org/officeDocument/2006/relationships/slideLayout" Target="../slideLayouts/slideLayout54.xml"/><Relationship Id="rId15" Type="http://schemas.openxmlformats.org/officeDocument/2006/relationships/tags" Target="../tags/tag172.xml"/><Relationship Id="rId23" Type="http://schemas.openxmlformats.org/officeDocument/2006/relationships/tags" Target="../tags/tag180.xml"/><Relationship Id="rId28" Type="http://schemas.openxmlformats.org/officeDocument/2006/relationships/oleObject" Target="../embeddings/oleObject40.bin"/><Relationship Id="rId10" Type="http://schemas.openxmlformats.org/officeDocument/2006/relationships/tags" Target="../tags/tag167.xml"/><Relationship Id="rId19" Type="http://schemas.openxmlformats.org/officeDocument/2006/relationships/tags" Target="../tags/tag176.xml"/><Relationship Id="rId4" Type="http://schemas.openxmlformats.org/officeDocument/2006/relationships/slideLayout" Target="../slideLayouts/slideLayout53.xml"/><Relationship Id="rId9" Type="http://schemas.openxmlformats.org/officeDocument/2006/relationships/tags" Target="../tags/tag166.xml"/><Relationship Id="rId14" Type="http://schemas.openxmlformats.org/officeDocument/2006/relationships/tags" Target="../tags/tag171.xml"/><Relationship Id="rId22" Type="http://schemas.openxmlformats.org/officeDocument/2006/relationships/tags" Target="../tags/tag179.xml"/><Relationship Id="rId27" Type="http://schemas.openxmlformats.org/officeDocument/2006/relationships/tags" Target="../tags/tag184.xml"/><Relationship Id="rId30" Type="http://schemas.openxmlformats.org/officeDocument/2006/relationships/image" Target="../media/image1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1.xml"/><Relationship Id="rId13" Type="http://schemas.openxmlformats.org/officeDocument/2006/relationships/tags" Target="../tags/tag193.xml"/><Relationship Id="rId18" Type="http://schemas.openxmlformats.org/officeDocument/2006/relationships/tags" Target="../tags/tag198.xml"/><Relationship Id="rId26" Type="http://schemas.openxmlformats.org/officeDocument/2006/relationships/tags" Target="../tags/tag206.xml"/><Relationship Id="rId3" Type="http://schemas.openxmlformats.org/officeDocument/2006/relationships/slideLayout" Target="../slideLayouts/slideLayout58.xml"/><Relationship Id="rId21" Type="http://schemas.openxmlformats.org/officeDocument/2006/relationships/tags" Target="../tags/tag201.xml"/><Relationship Id="rId7" Type="http://schemas.openxmlformats.org/officeDocument/2006/relationships/slideLayout" Target="../slideLayouts/slideLayout62.xml"/><Relationship Id="rId12" Type="http://schemas.openxmlformats.org/officeDocument/2006/relationships/tags" Target="../tags/tag192.xml"/><Relationship Id="rId17" Type="http://schemas.openxmlformats.org/officeDocument/2006/relationships/tags" Target="../tags/tag197.xml"/><Relationship Id="rId25" Type="http://schemas.openxmlformats.org/officeDocument/2006/relationships/tags" Target="../tags/tag205.xml"/><Relationship Id="rId2" Type="http://schemas.openxmlformats.org/officeDocument/2006/relationships/slideLayout" Target="../slideLayouts/slideLayout57.xml"/><Relationship Id="rId16" Type="http://schemas.openxmlformats.org/officeDocument/2006/relationships/tags" Target="../tags/tag196.xml"/><Relationship Id="rId20" Type="http://schemas.openxmlformats.org/officeDocument/2006/relationships/tags" Target="../tags/tag200.xml"/><Relationship Id="rId29" Type="http://schemas.openxmlformats.org/officeDocument/2006/relationships/oleObject" Target="../embeddings/oleObject46.bin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tags" Target="../tags/tag191.xml"/><Relationship Id="rId24" Type="http://schemas.openxmlformats.org/officeDocument/2006/relationships/tags" Target="../tags/tag204.xml"/><Relationship Id="rId5" Type="http://schemas.openxmlformats.org/officeDocument/2006/relationships/slideLayout" Target="../slideLayouts/slideLayout60.xml"/><Relationship Id="rId15" Type="http://schemas.openxmlformats.org/officeDocument/2006/relationships/tags" Target="../tags/tag195.xml"/><Relationship Id="rId23" Type="http://schemas.openxmlformats.org/officeDocument/2006/relationships/tags" Target="../tags/tag203.xml"/><Relationship Id="rId28" Type="http://schemas.openxmlformats.org/officeDocument/2006/relationships/tags" Target="../tags/tag208.xml"/><Relationship Id="rId10" Type="http://schemas.openxmlformats.org/officeDocument/2006/relationships/tags" Target="../tags/tag190.xml"/><Relationship Id="rId19" Type="http://schemas.openxmlformats.org/officeDocument/2006/relationships/tags" Target="../tags/tag19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59.xml"/><Relationship Id="rId9" Type="http://schemas.openxmlformats.org/officeDocument/2006/relationships/vmlDrawing" Target="../drawings/vmlDrawing46.vml"/><Relationship Id="rId14" Type="http://schemas.openxmlformats.org/officeDocument/2006/relationships/tags" Target="../tags/tag194.xml"/><Relationship Id="rId22" Type="http://schemas.openxmlformats.org/officeDocument/2006/relationships/tags" Target="../tags/tag202.xml"/><Relationship Id="rId27" Type="http://schemas.openxmlformats.org/officeDocument/2006/relationships/tags" Target="../tags/tag207.xml"/><Relationship Id="rId30" Type="http://schemas.openxmlformats.org/officeDocument/2006/relationships/image" Target="../media/image4.e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heme" Target="../theme/theme12.xml"/><Relationship Id="rId13" Type="http://schemas.openxmlformats.org/officeDocument/2006/relationships/tags" Target="../tags/tag218.xml"/><Relationship Id="rId18" Type="http://schemas.openxmlformats.org/officeDocument/2006/relationships/tags" Target="../tags/tag223.xml"/><Relationship Id="rId26" Type="http://schemas.openxmlformats.org/officeDocument/2006/relationships/tags" Target="../tags/tag231.xml"/><Relationship Id="rId3" Type="http://schemas.openxmlformats.org/officeDocument/2006/relationships/slideLayout" Target="../slideLayouts/slideLayout65.xml"/><Relationship Id="rId21" Type="http://schemas.openxmlformats.org/officeDocument/2006/relationships/tags" Target="../tags/tag226.xml"/><Relationship Id="rId7" Type="http://schemas.openxmlformats.org/officeDocument/2006/relationships/slideLayout" Target="../slideLayouts/slideLayout69.xml"/><Relationship Id="rId12" Type="http://schemas.openxmlformats.org/officeDocument/2006/relationships/tags" Target="../tags/tag217.xml"/><Relationship Id="rId17" Type="http://schemas.openxmlformats.org/officeDocument/2006/relationships/tags" Target="../tags/tag222.xml"/><Relationship Id="rId25" Type="http://schemas.openxmlformats.org/officeDocument/2006/relationships/tags" Target="../tags/tag230.xml"/><Relationship Id="rId2" Type="http://schemas.openxmlformats.org/officeDocument/2006/relationships/slideLayout" Target="../slideLayouts/slideLayout64.xml"/><Relationship Id="rId16" Type="http://schemas.openxmlformats.org/officeDocument/2006/relationships/tags" Target="../tags/tag221.xml"/><Relationship Id="rId20" Type="http://schemas.openxmlformats.org/officeDocument/2006/relationships/tags" Target="../tags/tag225.xml"/><Relationship Id="rId29" Type="http://schemas.openxmlformats.org/officeDocument/2006/relationships/oleObject" Target="../embeddings/oleObject53.bin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tags" Target="../tags/tag216.xml"/><Relationship Id="rId24" Type="http://schemas.openxmlformats.org/officeDocument/2006/relationships/tags" Target="../tags/tag229.xml"/><Relationship Id="rId5" Type="http://schemas.openxmlformats.org/officeDocument/2006/relationships/slideLayout" Target="../slideLayouts/slideLayout67.xml"/><Relationship Id="rId15" Type="http://schemas.openxmlformats.org/officeDocument/2006/relationships/tags" Target="../tags/tag220.xml"/><Relationship Id="rId23" Type="http://schemas.openxmlformats.org/officeDocument/2006/relationships/tags" Target="../tags/tag228.xml"/><Relationship Id="rId28" Type="http://schemas.openxmlformats.org/officeDocument/2006/relationships/tags" Target="../tags/tag233.xml"/><Relationship Id="rId10" Type="http://schemas.openxmlformats.org/officeDocument/2006/relationships/tags" Target="../tags/tag215.xml"/><Relationship Id="rId19" Type="http://schemas.openxmlformats.org/officeDocument/2006/relationships/tags" Target="../tags/tag224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66.xml"/><Relationship Id="rId9" Type="http://schemas.openxmlformats.org/officeDocument/2006/relationships/vmlDrawing" Target="../drawings/vmlDrawing53.vml"/><Relationship Id="rId14" Type="http://schemas.openxmlformats.org/officeDocument/2006/relationships/tags" Target="../tags/tag219.xml"/><Relationship Id="rId22" Type="http://schemas.openxmlformats.org/officeDocument/2006/relationships/tags" Target="../tags/tag227.xml"/><Relationship Id="rId27" Type="http://schemas.openxmlformats.org/officeDocument/2006/relationships/tags" Target="../tags/tag232.xml"/><Relationship Id="rId30" Type="http://schemas.openxmlformats.org/officeDocument/2006/relationships/image" Target="../media/image4.emf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heme" Target="../theme/theme13.xml"/><Relationship Id="rId13" Type="http://schemas.openxmlformats.org/officeDocument/2006/relationships/tags" Target="../tags/tag243.xml"/><Relationship Id="rId18" Type="http://schemas.openxmlformats.org/officeDocument/2006/relationships/tags" Target="../tags/tag248.xml"/><Relationship Id="rId26" Type="http://schemas.openxmlformats.org/officeDocument/2006/relationships/tags" Target="../tags/tag256.xml"/><Relationship Id="rId3" Type="http://schemas.openxmlformats.org/officeDocument/2006/relationships/slideLayout" Target="../slideLayouts/slideLayout72.xml"/><Relationship Id="rId21" Type="http://schemas.openxmlformats.org/officeDocument/2006/relationships/tags" Target="../tags/tag251.xml"/><Relationship Id="rId7" Type="http://schemas.openxmlformats.org/officeDocument/2006/relationships/slideLayout" Target="../slideLayouts/slideLayout76.xml"/><Relationship Id="rId12" Type="http://schemas.openxmlformats.org/officeDocument/2006/relationships/tags" Target="../tags/tag242.xml"/><Relationship Id="rId17" Type="http://schemas.openxmlformats.org/officeDocument/2006/relationships/tags" Target="../tags/tag247.xml"/><Relationship Id="rId25" Type="http://schemas.openxmlformats.org/officeDocument/2006/relationships/tags" Target="../tags/tag255.xml"/><Relationship Id="rId2" Type="http://schemas.openxmlformats.org/officeDocument/2006/relationships/slideLayout" Target="../slideLayouts/slideLayout71.xml"/><Relationship Id="rId16" Type="http://schemas.openxmlformats.org/officeDocument/2006/relationships/tags" Target="../tags/tag246.xml"/><Relationship Id="rId20" Type="http://schemas.openxmlformats.org/officeDocument/2006/relationships/tags" Target="../tags/tag250.xml"/><Relationship Id="rId29" Type="http://schemas.openxmlformats.org/officeDocument/2006/relationships/oleObject" Target="../embeddings/oleObject60.bin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tags" Target="../tags/tag241.xml"/><Relationship Id="rId24" Type="http://schemas.openxmlformats.org/officeDocument/2006/relationships/tags" Target="../tags/tag254.xml"/><Relationship Id="rId5" Type="http://schemas.openxmlformats.org/officeDocument/2006/relationships/slideLayout" Target="../slideLayouts/slideLayout74.xml"/><Relationship Id="rId15" Type="http://schemas.openxmlformats.org/officeDocument/2006/relationships/tags" Target="../tags/tag245.xml"/><Relationship Id="rId23" Type="http://schemas.openxmlformats.org/officeDocument/2006/relationships/tags" Target="../tags/tag253.xml"/><Relationship Id="rId28" Type="http://schemas.openxmlformats.org/officeDocument/2006/relationships/tags" Target="../tags/tag258.xml"/><Relationship Id="rId10" Type="http://schemas.openxmlformats.org/officeDocument/2006/relationships/tags" Target="../tags/tag240.xml"/><Relationship Id="rId19" Type="http://schemas.openxmlformats.org/officeDocument/2006/relationships/tags" Target="../tags/tag24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73.xml"/><Relationship Id="rId9" Type="http://schemas.openxmlformats.org/officeDocument/2006/relationships/vmlDrawing" Target="../drawings/vmlDrawing60.vml"/><Relationship Id="rId14" Type="http://schemas.openxmlformats.org/officeDocument/2006/relationships/tags" Target="../tags/tag244.xml"/><Relationship Id="rId22" Type="http://schemas.openxmlformats.org/officeDocument/2006/relationships/tags" Target="../tags/tag252.xml"/><Relationship Id="rId27" Type="http://schemas.openxmlformats.org/officeDocument/2006/relationships/tags" Target="../tags/tag257.xml"/><Relationship Id="rId30" Type="http://schemas.openxmlformats.org/officeDocument/2006/relationships/image" Target="../media/image4.emf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heme" Target="../theme/theme14.xml"/><Relationship Id="rId13" Type="http://schemas.openxmlformats.org/officeDocument/2006/relationships/tags" Target="../tags/tag268.xml"/><Relationship Id="rId18" Type="http://schemas.openxmlformats.org/officeDocument/2006/relationships/tags" Target="../tags/tag273.xml"/><Relationship Id="rId26" Type="http://schemas.openxmlformats.org/officeDocument/2006/relationships/tags" Target="../tags/tag281.xml"/><Relationship Id="rId3" Type="http://schemas.openxmlformats.org/officeDocument/2006/relationships/slideLayout" Target="../slideLayouts/slideLayout79.xml"/><Relationship Id="rId21" Type="http://schemas.openxmlformats.org/officeDocument/2006/relationships/tags" Target="../tags/tag276.xml"/><Relationship Id="rId7" Type="http://schemas.openxmlformats.org/officeDocument/2006/relationships/slideLayout" Target="../slideLayouts/slideLayout83.xml"/><Relationship Id="rId12" Type="http://schemas.openxmlformats.org/officeDocument/2006/relationships/tags" Target="../tags/tag267.xml"/><Relationship Id="rId17" Type="http://schemas.openxmlformats.org/officeDocument/2006/relationships/tags" Target="../tags/tag272.xml"/><Relationship Id="rId25" Type="http://schemas.openxmlformats.org/officeDocument/2006/relationships/tags" Target="../tags/tag280.xml"/><Relationship Id="rId2" Type="http://schemas.openxmlformats.org/officeDocument/2006/relationships/slideLayout" Target="../slideLayouts/slideLayout78.xml"/><Relationship Id="rId16" Type="http://schemas.openxmlformats.org/officeDocument/2006/relationships/tags" Target="../tags/tag271.xml"/><Relationship Id="rId20" Type="http://schemas.openxmlformats.org/officeDocument/2006/relationships/tags" Target="../tags/tag275.xml"/><Relationship Id="rId29" Type="http://schemas.openxmlformats.org/officeDocument/2006/relationships/oleObject" Target="../embeddings/oleObject67.bin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tags" Target="../tags/tag266.xml"/><Relationship Id="rId24" Type="http://schemas.openxmlformats.org/officeDocument/2006/relationships/tags" Target="../tags/tag279.xml"/><Relationship Id="rId5" Type="http://schemas.openxmlformats.org/officeDocument/2006/relationships/slideLayout" Target="../slideLayouts/slideLayout81.xml"/><Relationship Id="rId15" Type="http://schemas.openxmlformats.org/officeDocument/2006/relationships/tags" Target="../tags/tag270.xml"/><Relationship Id="rId23" Type="http://schemas.openxmlformats.org/officeDocument/2006/relationships/tags" Target="../tags/tag278.xml"/><Relationship Id="rId28" Type="http://schemas.openxmlformats.org/officeDocument/2006/relationships/tags" Target="../tags/tag283.xml"/><Relationship Id="rId10" Type="http://schemas.openxmlformats.org/officeDocument/2006/relationships/tags" Target="../tags/tag265.xml"/><Relationship Id="rId19" Type="http://schemas.openxmlformats.org/officeDocument/2006/relationships/tags" Target="../tags/tag274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80.xml"/><Relationship Id="rId9" Type="http://schemas.openxmlformats.org/officeDocument/2006/relationships/vmlDrawing" Target="../drawings/vmlDrawing67.vml"/><Relationship Id="rId14" Type="http://schemas.openxmlformats.org/officeDocument/2006/relationships/tags" Target="../tags/tag269.xml"/><Relationship Id="rId22" Type="http://schemas.openxmlformats.org/officeDocument/2006/relationships/tags" Target="../tags/tag277.xml"/><Relationship Id="rId27" Type="http://schemas.openxmlformats.org/officeDocument/2006/relationships/tags" Target="../tags/tag282.xml"/><Relationship Id="rId30" Type="http://schemas.openxmlformats.org/officeDocument/2006/relationships/image" Target="../media/image4.emf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heme" Target="../theme/theme15.xml"/><Relationship Id="rId13" Type="http://schemas.openxmlformats.org/officeDocument/2006/relationships/tags" Target="../tags/tag293.xml"/><Relationship Id="rId18" Type="http://schemas.openxmlformats.org/officeDocument/2006/relationships/tags" Target="../tags/tag298.xml"/><Relationship Id="rId26" Type="http://schemas.openxmlformats.org/officeDocument/2006/relationships/tags" Target="../tags/tag306.xml"/><Relationship Id="rId3" Type="http://schemas.openxmlformats.org/officeDocument/2006/relationships/slideLayout" Target="../slideLayouts/slideLayout86.xml"/><Relationship Id="rId21" Type="http://schemas.openxmlformats.org/officeDocument/2006/relationships/tags" Target="../tags/tag301.xml"/><Relationship Id="rId7" Type="http://schemas.openxmlformats.org/officeDocument/2006/relationships/slideLayout" Target="../slideLayouts/slideLayout90.xml"/><Relationship Id="rId12" Type="http://schemas.openxmlformats.org/officeDocument/2006/relationships/tags" Target="../tags/tag292.xml"/><Relationship Id="rId17" Type="http://schemas.openxmlformats.org/officeDocument/2006/relationships/tags" Target="../tags/tag297.xml"/><Relationship Id="rId25" Type="http://schemas.openxmlformats.org/officeDocument/2006/relationships/tags" Target="../tags/tag305.xml"/><Relationship Id="rId2" Type="http://schemas.openxmlformats.org/officeDocument/2006/relationships/slideLayout" Target="../slideLayouts/slideLayout85.xml"/><Relationship Id="rId16" Type="http://schemas.openxmlformats.org/officeDocument/2006/relationships/tags" Target="../tags/tag296.xml"/><Relationship Id="rId20" Type="http://schemas.openxmlformats.org/officeDocument/2006/relationships/tags" Target="../tags/tag300.xml"/><Relationship Id="rId29" Type="http://schemas.openxmlformats.org/officeDocument/2006/relationships/oleObject" Target="../embeddings/oleObject74.bin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tags" Target="../tags/tag291.xml"/><Relationship Id="rId24" Type="http://schemas.openxmlformats.org/officeDocument/2006/relationships/tags" Target="../tags/tag304.xml"/><Relationship Id="rId5" Type="http://schemas.openxmlformats.org/officeDocument/2006/relationships/slideLayout" Target="../slideLayouts/slideLayout88.xml"/><Relationship Id="rId15" Type="http://schemas.openxmlformats.org/officeDocument/2006/relationships/tags" Target="../tags/tag295.xml"/><Relationship Id="rId23" Type="http://schemas.openxmlformats.org/officeDocument/2006/relationships/tags" Target="../tags/tag303.xml"/><Relationship Id="rId28" Type="http://schemas.openxmlformats.org/officeDocument/2006/relationships/tags" Target="../tags/tag308.xml"/><Relationship Id="rId10" Type="http://schemas.openxmlformats.org/officeDocument/2006/relationships/tags" Target="../tags/tag290.xml"/><Relationship Id="rId19" Type="http://schemas.openxmlformats.org/officeDocument/2006/relationships/tags" Target="../tags/tag29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87.xml"/><Relationship Id="rId9" Type="http://schemas.openxmlformats.org/officeDocument/2006/relationships/vmlDrawing" Target="../drawings/vmlDrawing74.vml"/><Relationship Id="rId14" Type="http://schemas.openxmlformats.org/officeDocument/2006/relationships/tags" Target="../tags/tag294.xml"/><Relationship Id="rId22" Type="http://schemas.openxmlformats.org/officeDocument/2006/relationships/tags" Target="../tags/tag302.xml"/><Relationship Id="rId27" Type="http://schemas.openxmlformats.org/officeDocument/2006/relationships/tags" Target="../tags/tag307.xml"/><Relationship Id="rId30" Type="http://schemas.openxmlformats.org/officeDocument/2006/relationships/image" Target="../media/image4.emf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tags" Target="../tags/tag317.xml"/><Relationship Id="rId18" Type="http://schemas.openxmlformats.org/officeDocument/2006/relationships/tags" Target="../tags/tag322.xml"/><Relationship Id="rId26" Type="http://schemas.openxmlformats.org/officeDocument/2006/relationships/tags" Target="../tags/tag330.xml"/><Relationship Id="rId3" Type="http://schemas.openxmlformats.org/officeDocument/2006/relationships/slideLayout" Target="../slideLayouts/slideLayout93.xml"/><Relationship Id="rId21" Type="http://schemas.openxmlformats.org/officeDocument/2006/relationships/tags" Target="../tags/tag325.xml"/><Relationship Id="rId7" Type="http://schemas.openxmlformats.org/officeDocument/2006/relationships/slideLayout" Target="../slideLayouts/slideLayout97.xml"/><Relationship Id="rId12" Type="http://schemas.openxmlformats.org/officeDocument/2006/relationships/tags" Target="../tags/tag316.xml"/><Relationship Id="rId17" Type="http://schemas.openxmlformats.org/officeDocument/2006/relationships/tags" Target="../tags/tag321.xml"/><Relationship Id="rId25" Type="http://schemas.openxmlformats.org/officeDocument/2006/relationships/tags" Target="../tags/tag329.xml"/><Relationship Id="rId2" Type="http://schemas.openxmlformats.org/officeDocument/2006/relationships/slideLayout" Target="../slideLayouts/slideLayout92.xml"/><Relationship Id="rId16" Type="http://schemas.openxmlformats.org/officeDocument/2006/relationships/tags" Target="../tags/tag320.xml"/><Relationship Id="rId20" Type="http://schemas.openxmlformats.org/officeDocument/2006/relationships/tags" Target="../tags/tag324.xml"/><Relationship Id="rId29" Type="http://schemas.openxmlformats.org/officeDocument/2006/relationships/tags" Target="../tags/tag333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tags" Target="../tags/tag315.xml"/><Relationship Id="rId24" Type="http://schemas.openxmlformats.org/officeDocument/2006/relationships/tags" Target="../tags/tag328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95.xml"/><Relationship Id="rId15" Type="http://schemas.openxmlformats.org/officeDocument/2006/relationships/tags" Target="../tags/tag319.xml"/><Relationship Id="rId23" Type="http://schemas.openxmlformats.org/officeDocument/2006/relationships/tags" Target="../tags/tag327.xml"/><Relationship Id="rId28" Type="http://schemas.openxmlformats.org/officeDocument/2006/relationships/tags" Target="../tags/tag332.xml"/><Relationship Id="rId10" Type="http://schemas.openxmlformats.org/officeDocument/2006/relationships/vmlDrawing" Target="../drawings/vmlDrawing81.vml"/><Relationship Id="rId19" Type="http://schemas.openxmlformats.org/officeDocument/2006/relationships/tags" Target="../tags/tag323.xml"/><Relationship Id="rId31" Type="http://schemas.openxmlformats.org/officeDocument/2006/relationships/image" Target="../media/image4.emf"/><Relationship Id="rId4" Type="http://schemas.openxmlformats.org/officeDocument/2006/relationships/slideLayout" Target="../slideLayouts/slideLayout94.xml"/><Relationship Id="rId9" Type="http://schemas.openxmlformats.org/officeDocument/2006/relationships/theme" Target="../theme/theme16.xml"/><Relationship Id="rId14" Type="http://schemas.openxmlformats.org/officeDocument/2006/relationships/tags" Target="../tags/tag318.xml"/><Relationship Id="rId22" Type="http://schemas.openxmlformats.org/officeDocument/2006/relationships/tags" Target="../tags/tag326.xml"/><Relationship Id="rId27" Type="http://schemas.openxmlformats.org/officeDocument/2006/relationships/tags" Target="../tags/tag331.xml"/><Relationship Id="rId30" Type="http://schemas.openxmlformats.org/officeDocument/2006/relationships/oleObject" Target="../embeddings/oleObject81.bin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tags" Target="../tags/tag341.xml"/><Relationship Id="rId13" Type="http://schemas.openxmlformats.org/officeDocument/2006/relationships/tags" Target="../tags/tag346.xml"/><Relationship Id="rId18" Type="http://schemas.openxmlformats.org/officeDocument/2006/relationships/tags" Target="../tags/tag351.xml"/><Relationship Id="rId26" Type="http://schemas.openxmlformats.org/officeDocument/2006/relationships/oleObject" Target="../embeddings/oleObject88.bin"/><Relationship Id="rId3" Type="http://schemas.openxmlformats.org/officeDocument/2006/relationships/slideLayout" Target="../slideLayouts/slideLayout101.xml"/><Relationship Id="rId21" Type="http://schemas.openxmlformats.org/officeDocument/2006/relationships/tags" Target="../tags/tag354.xml"/><Relationship Id="rId7" Type="http://schemas.openxmlformats.org/officeDocument/2006/relationships/tags" Target="../tags/tag340.xml"/><Relationship Id="rId12" Type="http://schemas.openxmlformats.org/officeDocument/2006/relationships/tags" Target="../tags/tag345.xml"/><Relationship Id="rId17" Type="http://schemas.openxmlformats.org/officeDocument/2006/relationships/tags" Target="../tags/tag350.xml"/><Relationship Id="rId25" Type="http://schemas.openxmlformats.org/officeDocument/2006/relationships/tags" Target="../tags/tag358.xml"/><Relationship Id="rId2" Type="http://schemas.openxmlformats.org/officeDocument/2006/relationships/slideLayout" Target="../slideLayouts/slideLayout100.xml"/><Relationship Id="rId16" Type="http://schemas.openxmlformats.org/officeDocument/2006/relationships/tags" Target="../tags/tag349.xml"/><Relationship Id="rId20" Type="http://schemas.openxmlformats.org/officeDocument/2006/relationships/tags" Target="../tags/tag353.xml"/><Relationship Id="rId1" Type="http://schemas.openxmlformats.org/officeDocument/2006/relationships/slideLayout" Target="../slideLayouts/slideLayout99.xml"/><Relationship Id="rId6" Type="http://schemas.openxmlformats.org/officeDocument/2006/relationships/vmlDrawing" Target="../drawings/vmlDrawing88.vml"/><Relationship Id="rId11" Type="http://schemas.openxmlformats.org/officeDocument/2006/relationships/tags" Target="../tags/tag344.xml"/><Relationship Id="rId24" Type="http://schemas.openxmlformats.org/officeDocument/2006/relationships/tags" Target="../tags/tag357.xml"/><Relationship Id="rId5" Type="http://schemas.openxmlformats.org/officeDocument/2006/relationships/theme" Target="../theme/theme17.xml"/><Relationship Id="rId15" Type="http://schemas.openxmlformats.org/officeDocument/2006/relationships/tags" Target="../tags/tag348.xml"/><Relationship Id="rId23" Type="http://schemas.openxmlformats.org/officeDocument/2006/relationships/tags" Target="../tags/tag356.xml"/><Relationship Id="rId28" Type="http://schemas.openxmlformats.org/officeDocument/2006/relationships/image" Target="../media/image1.png"/><Relationship Id="rId10" Type="http://schemas.openxmlformats.org/officeDocument/2006/relationships/tags" Target="../tags/tag343.xml"/><Relationship Id="rId19" Type="http://schemas.openxmlformats.org/officeDocument/2006/relationships/tags" Target="../tags/tag352.xml"/><Relationship Id="rId4" Type="http://schemas.openxmlformats.org/officeDocument/2006/relationships/slideLayout" Target="../slideLayouts/slideLayout102.xml"/><Relationship Id="rId9" Type="http://schemas.openxmlformats.org/officeDocument/2006/relationships/tags" Target="../tags/tag342.xml"/><Relationship Id="rId14" Type="http://schemas.openxmlformats.org/officeDocument/2006/relationships/tags" Target="../tags/tag347.xml"/><Relationship Id="rId22" Type="http://schemas.openxmlformats.org/officeDocument/2006/relationships/tags" Target="../tags/tag355.xml"/><Relationship Id="rId27" Type="http://schemas.openxmlformats.org/officeDocument/2006/relationships/image" Target="../media/image4.emf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tags" Target="../tags/tag364.xml"/><Relationship Id="rId13" Type="http://schemas.openxmlformats.org/officeDocument/2006/relationships/tags" Target="../tags/tag369.xml"/><Relationship Id="rId18" Type="http://schemas.openxmlformats.org/officeDocument/2006/relationships/tags" Target="../tags/tag374.xml"/><Relationship Id="rId26" Type="http://schemas.openxmlformats.org/officeDocument/2006/relationships/oleObject" Target="../embeddings/oleObject93.bin"/><Relationship Id="rId3" Type="http://schemas.openxmlformats.org/officeDocument/2006/relationships/slideLayout" Target="../slideLayouts/slideLayout105.xml"/><Relationship Id="rId21" Type="http://schemas.openxmlformats.org/officeDocument/2006/relationships/tags" Target="../tags/tag377.xml"/><Relationship Id="rId7" Type="http://schemas.openxmlformats.org/officeDocument/2006/relationships/tags" Target="../tags/tag363.xml"/><Relationship Id="rId12" Type="http://schemas.openxmlformats.org/officeDocument/2006/relationships/tags" Target="../tags/tag368.xml"/><Relationship Id="rId17" Type="http://schemas.openxmlformats.org/officeDocument/2006/relationships/tags" Target="../tags/tag373.xml"/><Relationship Id="rId25" Type="http://schemas.openxmlformats.org/officeDocument/2006/relationships/tags" Target="../tags/tag381.xml"/><Relationship Id="rId2" Type="http://schemas.openxmlformats.org/officeDocument/2006/relationships/slideLayout" Target="../slideLayouts/slideLayout104.xml"/><Relationship Id="rId16" Type="http://schemas.openxmlformats.org/officeDocument/2006/relationships/tags" Target="../tags/tag372.xml"/><Relationship Id="rId20" Type="http://schemas.openxmlformats.org/officeDocument/2006/relationships/tags" Target="../tags/tag376.xml"/><Relationship Id="rId1" Type="http://schemas.openxmlformats.org/officeDocument/2006/relationships/slideLayout" Target="../slideLayouts/slideLayout103.xml"/><Relationship Id="rId6" Type="http://schemas.openxmlformats.org/officeDocument/2006/relationships/vmlDrawing" Target="../drawings/vmlDrawing93.vml"/><Relationship Id="rId11" Type="http://schemas.openxmlformats.org/officeDocument/2006/relationships/tags" Target="../tags/tag367.xml"/><Relationship Id="rId24" Type="http://schemas.openxmlformats.org/officeDocument/2006/relationships/tags" Target="../tags/tag380.xml"/><Relationship Id="rId5" Type="http://schemas.openxmlformats.org/officeDocument/2006/relationships/theme" Target="../theme/theme18.xml"/><Relationship Id="rId15" Type="http://schemas.openxmlformats.org/officeDocument/2006/relationships/tags" Target="../tags/tag371.xml"/><Relationship Id="rId23" Type="http://schemas.openxmlformats.org/officeDocument/2006/relationships/tags" Target="../tags/tag379.xml"/><Relationship Id="rId28" Type="http://schemas.openxmlformats.org/officeDocument/2006/relationships/image" Target="../media/image1.png"/><Relationship Id="rId10" Type="http://schemas.openxmlformats.org/officeDocument/2006/relationships/tags" Target="../tags/tag366.xml"/><Relationship Id="rId19" Type="http://schemas.openxmlformats.org/officeDocument/2006/relationships/tags" Target="../tags/tag375.xml"/><Relationship Id="rId4" Type="http://schemas.openxmlformats.org/officeDocument/2006/relationships/slideLayout" Target="../slideLayouts/slideLayout106.xml"/><Relationship Id="rId9" Type="http://schemas.openxmlformats.org/officeDocument/2006/relationships/tags" Target="../tags/tag365.xml"/><Relationship Id="rId14" Type="http://schemas.openxmlformats.org/officeDocument/2006/relationships/tags" Target="../tags/tag370.xml"/><Relationship Id="rId22" Type="http://schemas.openxmlformats.org/officeDocument/2006/relationships/tags" Target="../tags/tag378.xml"/><Relationship Id="rId27" Type="http://schemas.openxmlformats.org/officeDocument/2006/relationships/image" Target="../media/image4.emf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3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113.xml"/><Relationship Id="rId2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111.xml"/><Relationship Id="rId10" Type="http://schemas.openxmlformats.org/officeDocument/2006/relationships/theme" Target="../theme/theme19.xml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image" Target="../media/image5.png"/><Relationship Id="rId3" Type="http://schemas.openxmlformats.org/officeDocument/2006/relationships/theme" Target="../theme/theme2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image" Target="../media/image4.emf"/><Relationship Id="rId2" Type="http://schemas.openxmlformats.org/officeDocument/2006/relationships/slideLayout" Target="../slideLayouts/slideLayout7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6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oleObject" Target="../embeddings/oleObject1.bin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tags" Target="../tags/tag24.xml"/><Relationship Id="rId18" Type="http://schemas.openxmlformats.org/officeDocument/2006/relationships/tags" Target="../tags/tag29.xml"/><Relationship Id="rId26" Type="http://schemas.openxmlformats.org/officeDocument/2006/relationships/tags" Target="../tags/tag37.xml"/><Relationship Id="rId3" Type="http://schemas.openxmlformats.org/officeDocument/2006/relationships/slideLayout" Target="../slideLayouts/slideLayout15.xml"/><Relationship Id="rId21" Type="http://schemas.openxmlformats.org/officeDocument/2006/relationships/tags" Target="../tags/tag32.xml"/><Relationship Id="rId7" Type="http://schemas.openxmlformats.org/officeDocument/2006/relationships/slideLayout" Target="../slideLayouts/slideLayout19.xml"/><Relationship Id="rId12" Type="http://schemas.openxmlformats.org/officeDocument/2006/relationships/tags" Target="../tags/tag23.xml"/><Relationship Id="rId17" Type="http://schemas.openxmlformats.org/officeDocument/2006/relationships/tags" Target="../tags/tag28.xml"/><Relationship Id="rId25" Type="http://schemas.openxmlformats.org/officeDocument/2006/relationships/tags" Target="../tags/tag36.xml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27.xml"/><Relationship Id="rId20" Type="http://schemas.openxmlformats.org/officeDocument/2006/relationships/tags" Target="../tags/tag31.xml"/><Relationship Id="rId29" Type="http://schemas.openxmlformats.org/officeDocument/2006/relationships/oleObject" Target="../embeddings/oleObject3.bin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ags" Target="../tags/tag22.xml"/><Relationship Id="rId24" Type="http://schemas.openxmlformats.org/officeDocument/2006/relationships/tags" Target="../tags/tag35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26.xml"/><Relationship Id="rId23" Type="http://schemas.openxmlformats.org/officeDocument/2006/relationships/tags" Target="../tags/tag34.xml"/><Relationship Id="rId28" Type="http://schemas.openxmlformats.org/officeDocument/2006/relationships/tags" Target="../tags/tag39.xml"/><Relationship Id="rId10" Type="http://schemas.openxmlformats.org/officeDocument/2006/relationships/tags" Target="../tags/tag21.xml"/><Relationship Id="rId19" Type="http://schemas.openxmlformats.org/officeDocument/2006/relationships/tags" Target="../tags/tag30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16.xml"/><Relationship Id="rId9" Type="http://schemas.openxmlformats.org/officeDocument/2006/relationships/vmlDrawing" Target="../drawings/vmlDrawing3.vml"/><Relationship Id="rId14" Type="http://schemas.openxmlformats.org/officeDocument/2006/relationships/tags" Target="../tags/tag25.xml"/><Relationship Id="rId22" Type="http://schemas.openxmlformats.org/officeDocument/2006/relationships/tags" Target="../tags/tag33.xml"/><Relationship Id="rId27" Type="http://schemas.openxmlformats.org/officeDocument/2006/relationships/tags" Target="../tags/tag38.xml"/><Relationship Id="rId30" Type="http://schemas.openxmlformats.org/officeDocument/2006/relationships/image" Target="../media/image4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13" Type="http://schemas.openxmlformats.org/officeDocument/2006/relationships/tags" Target="../tags/tag54.xml"/><Relationship Id="rId18" Type="http://schemas.openxmlformats.org/officeDocument/2006/relationships/tags" Target="../tags/tag59.xml"/><Relationship Id="rId26" Type="http://schemas.openxmlformats.org/officeDocument/2006/relationships/image" Target="../media/image5.png"/><Relationship Id="rId3" Type="http://schemas.openxmlformats.org/officeDocument/2006/relationships/theme" Target="../theme/theme5.xml"/><Relationship Id="rId21" Type="http://schemas.openxmlformats.org/officeDocument/2006/relationships/tags" Target="../tags/tag62.xml"/><Relationship Id="rId7" Type="http://schemas.openxmlformats.org/officeDocument/2006/relationships/tags" Target="../tags/tag48.xml"/><Relationship Id="rId12" Type="http://schemas.openxmlformats.org/officeDocument/2006/relationships/tags" Target="../tags/tag53.xml"/><Relationship Id="rId17" Type="http://schemas.openxmlformats.org/officeDocument/2006/relationships/tags" Target="../tags/tag58.xml"/><Relationship Id="rId25" Type="http://schemas.openxmlformats.org/officeDocument/2006/relationships/image" Target="../media/image4.emf"/><Relationship Id="rId2" Type="http://schemas.openxmlformats.org/officeDocument/2006/relationships/slideLayout" Target="../slideLayouts/slideLayout21.xml"/><Relationship Id="rId16" Type="http://schemas.openxmlformats.org/officeDocument/2006/relationships/tags" Target="../tags/tag57.xml"/><Relationship Id="rId20" Type="http://schemas.openxmlformats.org/officeDocument/2006/relationships/tags" Target="../tags/tag61.xml"/><Relationship Id="rId1" Type="http://schemas.openxmlformats.org/officeDocument/2006/relationships/slideLayout" Target="../slideLayouts/slideLayout20.xml"/><Relationship Id="rId6" Type="http://schemas.openxmlformats.org/officeDocument/2006/relationships/tags" Target="../tags/tag47.xml"/><Relationship Id="rId11" Type="http://schemas.openxmlformats.org/officeDocument/2006/relationships/tags" Target="../tags/tag52.xml"/><Relationship Id="rId24" Type="http://schemas.openxmlformats.org/officeDocument/2006/relationships/oleObject" Target="../embeddings/oleObject10.bin"/><Relationship Id="rId5" Type="http://schemas.openxmlformats.org/officeDocument/2006/relationships/tags" Target="../tags/tag46.xml"/><Relationship Id="rId15" Type="http://schemas.openxmlformats.org/officeDocument/2006/relationships/tags" Target="../tags/tag56.xml"/><Relationship Id="rId23" Type="http://schemas.openxmlformats.org/officeDocument/2006/relationships/tags" Target="../tags/tag64.xml"/><Relationship Id="rId10" Type="http://schemas.openxmlformats.org/officeDocument/2006/relationships/tags" Target="../tags/tag51.xml"/><Relationship Id="rId19" Type="http://schemas.openxmlformats.org/officeDocument/2006/relationships/tags" Target="../tags/tag60.xml"/><Relationship Id="rId4" Type="http://schemas.openxmlformats.org/officeDocument/2006/relationships/vmlDrawing" Target="../drawings/vmlDrawing10.vml"/><Relationship Id="rId9" Type="http://schemas.openxmlformats.org/officeDocument/2006/relationships/tags" Target="../tags/tag50.xml"/><Relationship Id="rId14" Type="http://schemas.openxmlformats.org/officeDocument/2006/relationships/tags" Target="../tags/tag55.xml"/><Relationship Id="rId22" Type="http://schemas.openxmlformats.org/officeDocument/2006/relationships/tags" Target="../tags/tag6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13" Type="http://schemas.openxmlformats.org/officeDocument/2006/relationships/tags" Target="../tags/tag69.xml"/><Relationship Id="rId18" Type="http://schemas.openxmlformats.org/officeDocument/2006/relationships/tags" Target="../tags/tag74.xml"/><Relationship Id="rId26" Type="http://schemas.openxmlformats.org/officeDocument/2006/relationships/tags" Target="../tags/tag82.xml"/><Relationship Id="rId3" Type="http://schemas.openxmlformats.org/officeDocument/2006/relationships/slideLayout" Target="../slideLayouts/slideLayout24.xml"/><Relationship Id="rId21" Type="http://schemas.openxmlformats.org/officeDocument/2006/relationships/tags" Target="../tags/tag77.xml"/><Relationship Id="rId7" Type="http://schemas.openxmlformats.org/officeDocument/2006/relationships/slideLayout" Target="../slideLayouts/slideLayout28.xml"/><Relationship Id="rId12" Type="http://schemas.openxmlformats.org/officeDocument/2006/relationships/tags" Target="../tags/tag68.xml"/><Relationship Id="rId17" Type="http://schemas.openxmlformats.org/officeDocument/2006/relationships/tags" Target="../tags/tag73.xml"/><Relationship Id="rId25" Type="http://schemas.openxmlformats.org/officeDocument/2006/relationships/tags" Target="../tags/tag81.xml"/><Relationship Id="rId2" Type="http://schemas.openxmlformats.org/officeDocument/2006/relationships/slideLayout" Target="../slideLayouts/slideLayout23.xml"/><Relationship Id="rId16" Type="http://schemas.openxmlformats.org/officeDocument/2006/relationships/tags" Target="../tags/tag72.xml"/><Relationship Id="rId20" Type="http://schemas.openxmlformats.org/officeDocument/2006/relationships/tags" Target="../tags/tag76.xml"/><Relationship Id="rId29" Type="http://schemas.openxmlformats.org/officeDocument/2006/relationships/oleObject" Target="../embeddings/oleObject12.bin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tags" Target="../tags/tag67.xml"/><Relationship Id="rId24" Type="http://schemas.openxmlformats.org/officeDocument/2006/relationships/tags" Target="../tags/tag80.xml"/><Relationship Id="rId5" Type="http://schemas.openxmlformats.org/officeDocument/2006/relationships/slideLayout" Target="../slideLayouts/slideLayout26.xml"/><Relationship Id="rId15" Type="http://schemas.openxmlformats.org/officeDocument/2006/relationships/tags" Target="../tags/tag71.xml"/><Relationship Id="rId23" Type="http://schemas.openxmlformats.org/officeDocument/2006/relationships/tags" Target="../tags/tag79.xml"/><Relationship Id="rId28" Type="http://schemas.openxmlformats.org/officeDocument/2006/relationships/tags" Target="../tags/tag84.xml"/><Relationship Id="rId10" Type="http://schemas.openxmlformats.org/officeDocument/2006/relationships/tags" Target="../tags/tag66.xml"/><Relationship Id="rId19" Type="http://schemas.openxmlformats.org/officeDocument/2006/relationships/tags" Target="../tags/tag75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25.xml"/><Relationship Id="rId9" Type="http://schemas.openxmlformats.org/officeDocument/2006/relationships/vmlDrawing" Target="../drawings/vmlDrawing12.vml"/><Relationship Id="rId14" Type="http://schemas.openxmlformats.org/officeDocument/2006/relationships/tags" Target="../tags/tag70.xml"/><Relationship Id="rId22" Type="http://schemas.openxmlformats.org/officeDocument/2006/relationships/tags" Target="../tags/tag78.xml"/><Relationship Id="rId27" Type="http://schemas.openxmlformats.org/officeDocument/2006/relationships/tags" Target="../tags/tag83.xml"/><Relationship Id="rId30" Type="http://schemas.openxmlformats.org/officeDocument/2006/relationships/image" Target="../media/image4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13" Type="http://schemas.openxmlformats.org/officeDocument/2006/relationships/tags" Target="../tags/tag94.xml"/><Relationship Id="rId18" Type="http://schemas.openxmlformats.org/officeDocument/2006/relationships/tags" Target="../tags/tag99.xml"/><Relationship Id="rId26" Type="http://schemas.openxmlformats.org/officeDocument/2006/relationships/tags" Target="../tags/tag107.xml"/><Relationship Id="rId3" Type="http://schemas.openxmlformats.org/officeDocument/2006/relationships/slideLayout" Target="../slideLayouts/slideLayout31.xml"/><Relationship Id="rId21" Type="http://schemas.openxmlformats.org/officeDocument/2006/relationships/tags" Target="../tags/tag102.xml"/><Relationship Id="rId7" Type="http://schemas.openxmlformats.org/officeDocument/2006/relationships/slideLayout" Target="../slideLayouts/slideLayout35.xml"/><Relationship Id="rId12" Type="http://schemas.openxmlformats.org/officeDocument/2006/relationships/tags" Target="../tags/tag93.xml"/><Relationship Id="rId17" Type="http://schemas.openxmlformats.org/officeDocument/2006/relationships/tags" Target="../tags/tag98.xml"/><Relationship Id="rId25" Type="http://schemas.openxmlformats.org/officeDocument/2006/relationships/tags" Target="../tags/tag106.xml"/><Relationship Id="rId2" Type="http://schemas.openxmlformats.org/officeDocument/2006/relationships/slideLayout" Target="../slideLayouts/slideLayout30.xml"/><Relationship Id="rId16" Type="http://schemas.openxmlformats.org/officeDocument/2006/relationships/tags" Target="../tags/tag97.xml"/><Relationship Id="rId20" Type="http://schemas.openxmlformats.org/officeDocument/2006/relationships/tags" Target="../tags/tag101.xml"/><Relationship Id="rId29" Type="http://schemas.openxmlformats.org/officeDocument/2006/relationships/oleObject" Target="../embeddings/oleObject19.bin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tags" Target="../tags/tag92.xml"/><Relationship Id="rId24" Type="http://schemas.openxmlformats.org/officeDocument/2006/relationships/tags" Target="../tags/tag105.xml"/><Relationship Id="rId5" Type="http://schemas.openxmlformats.org/officeDocument/2006/relationships/slideLayout" Target="../slideLayouts/slideLayout33.xml"/><Relationship Id="rId15" Type="http://schemas.openxmlformats.org/officeDocument/2006/relationships/tags" Target="../tags/tag96.xml"/><Relationship Id="rId23" Type="http://schemas.openxmlformats.org/officeDocument/2006/relationships/tags" Target="../tags/tag104.xml"/><Relationship Id="rId28" Type="http://schemas.openxmlformats.org/officeDocument/2006/relationships/tags" Target="../tags/tag109.xml"/><Relationship Id="rId10" Type="http://schemas.openxmlformats.org/officeDocument/2006/relationships/tags" Target="../tags/tag91.xml"/><Relationship Id="rId19" Type="http://schemas.openxmlformats.org/officeDocument/2006/relationships/tags" Target="../tags/tag100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32.xml"/><Relationship Id="rId9" Type="http://schemas.openxmlformats.org/officeDocument/2006/relationships/vmlDrawing" Target="../drawings/vmlDrawing19.vml"/><Relationship Id="rId14" Type="http://schemas.openxmlformats.org/officeDocument/2006/relationships/tags" Target="../tags/tag95.xml"/><Relationship Id="rId22" Type="http://schemas.openxmlformats.org/officeDocument/2006/relationships/tags" Target="../tags/tag103.xml"/><Relationship Id="rId27" Type="http://schemas.openxmlformats.org/officeDocument/2006/relationships/tags" Target="../tags/tag108.xml"/><Relationship Id="rId30" Type="http://schemas.openxmlformats.org/officeDocument/2006/relationships/image" Target="../media/image4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heme" Target="../theme/theme8.xml"/><Relationship Id="rId13" Type="http://schemas.openxmlformats.org/officeDocument/2006/relationships/tags" Target="../tags/tag119.xml"/><Relationship Id="rId18" Type="http://schemas.openxmlformats.org/officeDocument/2006/relationships/tags" Target="../tags/tag124.xml"/><Relationship Id="rId26" Type="http://schemas.openxmlformats.org/officeDocument/2006/relationships/tags" Target="../tags/tag132.xml"/><Relationship Id="rId3" Type="http://schemas.openxmlformats.org/officeDocument/2006/relationships/slideLayout" Target="../slideLayouts/slideLayout38.xml"/><Relationship Id="rId21" Type="http://schemas.openxmlformats.org/officeDocument/2006/relationships/tags" Target="../tags/tag127.xml"/><Relationship Id="rId7" Type="http://schemas.openxmlformats.org/officeDocument/2006/relationships/slideLayout" Target="../slideLayouts/slideLayout42.xml"/><Relationship Id="rId12" Type="http://schemas.openxmlformats.org/officeDocument/2006/relationships/tags" Target="../tags/tag118.xml"/><Relationship Id="rId17" Type="http://schemas.openxmlformats.org/officeDocument/2006/relationships/tags" Target="../tags/tag123.xml"/><Relationship Id="rId25" Type="http://schemas.openxmlformats.org/officeDocument/2006/relationships/tags" Target="../tags/tag131.xml"/><Relationship Id="rId2" Type="http://schemas.openxmlformats.org/officeDocument/2006/relationships/slideLayout" Target="../slideLayouts/slideLayout37.xml"/><Relationship Id="rId16" Type="http://schemas.openxmlformats.org/officeDocument/2006/relationships/tags" Target="../tags/tag122.xml"/><Relationship Id="rId20" Type="http://schemas.openxmlformats.org/officeDocument/2006/relationships/tags" Target="../tags/tag126.xml"/><Relationship Id="rId29" Type="http://schemas.openxmlformats.org/officeDocument/2006/relationships/oleObject" Target="../embeddings/oleObject26.bin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tags" Target="../tags/tag117.xml"/><Relationship Id="rId24" Type="http://schemas.openxmlformats.org/officeDocument/2006/relationships/tags" Target="../tags/tag130.xml"/><Relationship Id="rId5" Type="http://schemas.openxmlformats.org/officeDocument/2006/relationships/slideLayout" Target="../slideLayouts/slideLayout40.xml"/><Relationship Id="rId15" Type="http://schemas.openxmlformats.org/officeDocument/2006/relationships/tags" Target="../tags/tag121.xml"/><Relationship Id="rId23" Type="http://schemas.openxmlformats.org/officeDocument/2006/relationships/tags" Target="../tags/tag129.xml"/><Relationship Id="rId28" Type="http://schemas.openxmlformats.org/officeDocument/2006/relationships/tags" Target="../tags/tag134.xml"/><Relationship Id="rId10" Type="http://schemas.openxmlformats.org/officeDocument/2006/relationships/tags" Target="../tags/tag116.xml"/><Relationship Id="rId19" Type="http://schemas.openxmlformats.org/officeDocument/2006/relationships/tags" Target="../tags/tag125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39.xml"/><Relationship Id="rId9" Type="http://schemas.openxmlformats.org/officeDocument/2006/relationships/vmlDrawing" Target="../drawings/vmlDrawing26.vml"/><Relationship Id="rId14" Type="http://schemas.openxmlformats.org/officeDocument/2006/relationships/tags" Target="../tags/tag120.xml"/><Relationship Id="rId22" Type="http://schemas.openxmlformats.org/officeDocument/2006/relationships/tags" Target="../tags/tag128.xml"/><Relationship Id="rId27" Type="http://schemas.openxmlformats.org/officeDocument/2006/relationships/tags" Target="../tags/tag133.xml"/><Relationship Id="rId30" Type="http://schemas.openxmlformats.org/officeDocument/2006/relationships/image" Target="../media/image4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13" Type="http://schemas.openxmlformats.org/officeDocument/2006/relationships/tags" Target="../tags/tag144.xml"/><Relationship Id="rId18" Type="http://schemas.openxmlformats.org/officeDocument/2006/relationships/tags" Target="../tags/tag149.xml"/><Relationship Id="rId26" Type="http://schemas.openxmlformats.org/officeDocument/2006/relationships/tags" Target="../tags/tag157.xml"/><Relationship Id="rId3" Type="http://schemas.openxmlformats.org/officeDocument/2006/relationships/slideLayout" Target="../slideLayouts/slideLayout45.xml"/><Relationship Id="rId21" Type="http://schemas.openxmlformats.org/officeDocument/2006/relationships/tags" Target="../tags/tag152.xml"/><Relationship Id="rId7" Type="http://schemas.openxmlformats.org/officeDocument/2006/relationships/slideLayout" Target="../slideLayouts/slideLayout49.xml"/><Relationship Id="rId12" Type="http://schemas.openxmlformats.org/officeDocument/2006/relationships/tags" Target="../tags/tag143.xml"/><Relationship Id="rId17" Type="http://schemas.openxmlformats.org/officeDocument/2006/relationships/tags" Target="../tags/tag148.xml"/><Relationship Id="rId25" Type="http://schemas.openxmlformats.org/officeDocument/2006/relationships/tags" Target="../tags/tag156.xml"/><Relationship Id="rId2" Type="http://schemas.openxmlformats.org/officeDocument/2006/relationships/slideLayout" Target="../slideLayouts/slideLayout44.xml"/><Relationship Id="rId16" Type="http://schemas.openxmlformats.org/officeDocument/2006/relationships/tags" Target="../tags/tag147.xml"/><Relationship Id="rId20" Type="http://schemas.openxmlformats.org/officeDocument/2006/relationships/tags" Target="../tags/tag151.xml"/><Relationship Id="rId29" Type="http://schemas.openxmlformats.org/officeDocument/2006/relationships/oleObject" Target="../embeddings/oleObject33.bin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tags" Target="../tags/tag142.xml"/><Relationship Id="rId24" Type="http://schemas.openxmlformats.org/officeDocument/2006/relationships/tags" Target="../tags/tag155.xml"/><Relationship Id="rId5" Type="http://schemas.openxmlformats.org/officeDocument/2006/relationships/slideLayout" Target="../slideLayouts/slideLayout47.xml"/><Relationship Id="rId15" Type="http://schemas.openxmlformats.org/officeDocument/2006/relationships/tags" Target="../tags/tag146.xml"/><Relationship Id="rId23" Type="http://schemas.openxmlformats.org/officeDocument/2006/relationships/tags" Target="../tags/tag154.xml"/><Relationship Id="rId28" Type="http://schemas.openxmlformats.org/officeDocument/2006/relationships/tags" Target="../tags/tag159.xml"/><Relationship Id="rId10" Type="http://schemas.openxmlformats.org/officeDocument/2006/relationships/tags" Target="../tags/tag141.xml"/><Relationship Id="rId19" Type="http://schemas.openxmlformats.org/officeDocument/2006/relationships/tags" Target="../tags/tag150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46.xml"/><Relationship Id="rId9" Type="http://schemas.openxmlformats.org/officeDocument/2006/relationships/vmlDrawing" Target="../drawings/vmlDrawing33.vml"/><Relationship Id="rId14" Type="http://schemas.openxmlformats.org/officeDocument/2006/relationships/tags" Target="../tags/tag145.xml"/><Relationship Id="rId22" Type="http://schemas.openxmlformats.org/officeDocument/2006/relationships/tags" Target="../tags/tag153.xml"/><Relationship Id="rId27" Type="http://schemas.openxmlformats.org/officeDocument/2006/relationships/tags" Target="../tags/tag158.xml"/><Relationship Id="rId30" Type="http://schemas.openxmlformats.org/officeDocument/2006/relationships/image" Target="../media/image4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JM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701805"/>
            <a:ext cx="8229600" cy="41655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JM" dirty="0"/>
          </a:p>
        </p:txBody>
      </p:sp>
      <p:sp>
        <p:nvSpPr>
          <p:cNvPr id="17" name="Slide Number Placeholder 3"/>
          <p:cNvSpPr txBox="1">
            <a:spLocks/>
          </p:cNvSpPr>
          <p:nvPr/>
        </p:nvSpPr>
        <p:spPr>
          <a:xfrm rot="16200000">
            <a:off x="8267700" y="6210300"/>
            <a:ext cx="381000" cy="457200"/>
          </a:xfrm>
          <a:prstGeom prst="rect">
            <a:avLst/>
          </a:prstGeom>
          <a:noFill/>
        </p:spPr>
        <p:txBody>
          <a:bodyPr vert="vert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4B4D3B3-1937-AB48-AF5F-DF2988F16F28}" type="slidenum">
              <a:rPr lang="en-US" sz="1200" smtClean="0">
                <a:solidFill>
                  <a:schemeClr val="accent5"/>
                </a:solidFill>
              </a:rPr>
              <a:pPr/>
              <a:t>‹#›</a:t>
            </a:fld>
            <a:endParaRPr lang="en-US" sz="1200" dirty="0">
              <a:solidFill>
                <a:schemeClr val="accent5"/>
              </a:solidFill>
              <a:latin typeface="Open Sans"/>
              <a:cs typeface="Open Sans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324" y="5943600"/>
            <a:ext cx="752475" cy="752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9801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1" r:id="rId3"/>
    <p:sldLayoutId id="2147483690" r:id="rId4"/>
    <p:sldLayoutId id="2147483782" r:id="rId5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b="1" i="0" kern="1200">
          <a:solidFill>
            <a:schemeClr val="tx2"/>
          </a:solidFill>
          <a:latin typeface="PermianSlabSerifTypeface"/>
          <a:ea typeface="Open Sans Light" panose="020B0306030504020204" pitchFamily="34" charset="0"/>
          <a:cs typeface="PermianSlabSerifTypeface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E71B1B"/>
        </a:buClr>
        <a:buFont typeface="Arial" panose="020B0604020202020204" pitchFamily="34" charset="0"/>
        <a:buChar char="•"/>
        <a:defRPr sz="1800" kern="1200">
          <a:solidFill>
            <a:srgbClr val="7E7E82"/>
          </a:solidFill>
          <a:latin typeface="Open Sans"/>
          <a:ea typeface="+mn-ea"/>
          <a:cs typeface="Open San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E71B1B"/>
        </a:buClr>
        <a:buFont typeface="Calibri" panose="020F0502020204030204" pitchFamily="34" charset="0"/>
        <a:buChar char="▫"/>
        <a:defRPr sz="1600" kern="1200">
          <a:solidFill>
            <a:srgbClr val="7E7E82"/>
          </a:solidFill>
          <a:latin typeface="Open Sans"/>
          <a:ea typeface="+mn-ea"/>
          <a:cs typeface="Open San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E71B1B"/>
        </a:buClr>
        <a:buFont typeface="Calibri" panose="020F0502020204030204" pitchFamily="34" charset="0"/>
        <a:buChar char="–"/>
        <a:defRPr sz="1400" kern="1200">
          <a:solidFill>
            <a:srgbClr val="7E7E82"/>
          </a:solidFill>
          <a:latin typeface="Open Sans"/>
          <a:ea typeface="+mn-ea"/>
          <a:cs typeface="Open San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E71B1B"/>
        </a:buClr>
        <a:buFont typeface="Wingdings" panose="05000000000000000000" pitchFamily="2" charset="2"/>
        <a:buChar char="§"/>
        <a:defRPr sz="1200" kern="1200">
          <a:solidFill>
            <a:srgbClr val="7E7E82"/>
          </a:solidFill>
          <a:latin typeface="Open Sans"/>
          <a:ea typeface="+mn-ea"/>
          <a:cs typeface="Open San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E71B1B"/>
        </a:buClr>
        <a:buFont typeface="Arial" pitchFamily="34" charset="0"/>
        <a:buChar char="»"/>
        <a:defRPr sz="1200" kern="1200">
          <a:solidFill>
            <a:srgbClr val="7E7E82"/>
          </a:solidFill>
          <a:latin typeface="Open Sans"/>
          <a:ea typeface="+mn-ea"/>
          <a:cs typeface="Open San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573365695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59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Slide Number"/>
          <p:cNvSpPr txBox="1">
            <a:spLocks/>
          </p:cNvSpPr>
          <p:nvPr/>
        </p:nvSpPr>
        <p:spPr bwMode="auto">
          <a:xfrm>
            <a:off x="8645289" y="6594083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7E7E82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7E7E82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38418" y="228736"/>
            <a:ext cx="846716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338418" y="8099"/>
            <a:ext cx="75463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338418" y="541311"/>
            <a:ext cx="846716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Open Sans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888574" y="6381795"/>
            <a:ext cx="7916327" cy="369302"/>
            <a:chOff x="75" y="3904"/>
            <a:chExt cx="5601" cy="22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04"/>
              <a:ext cx="5601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7E7E82"/>
                  </a:solidFill>
                  <a:latin typeface="Open Sans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37"/>
              <a:ext cx="5086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552450" indent="-552450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n-US" sz="1000" dirty="0">
                  <a:solidFill>
                    <a:srgbClr val="7E7E82"/>
                  </a:solidFill>
                </a:rPr>
                <a:t>SOURCE: </a:t>
              </a:r>
              <a:r>
                <a:rPr lang="en-US" sz="1000" dirty="0" smtClean="0">
                  <a:solidFill>
                    <a:srgbClr val="7E7E82"/>
                  </a:solidFill>
                </a:rPr>
                <a:t>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392981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7E7E82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4" name="LegendBoxes" hidden="1"/>
          <p:cNvGrpSpPr>
            <a:grpSpLocks/>
          </p:cNvGrpSpPr>
          <p:nvPr/>
        </p:nvGrpSpPr>
        <p:grpSpPr bwMode="auto">
          <a:xfrm>
            <a:off x="8018340" y="264799"/>
            <a:ext cx="787243" cy="1013962"/>
            <a:chOff x="4936" y="176"/>
            <a:chExt cx="486" cy="626"/>
          </a:xfrm>
        </p:grpSpPr>
        <p:sp>
          <p:nvSpPr>
            <p:cNvPr id="2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/>
        </p:nvGrpSpPr>
        <p:grpSpPr bwMode="auto">
          <a:xfrm>
            <a:off x="7704091" y="264799"/>
            <a:ext cx="1101492" cy="741845"/>
            <a:chOff x="4750" y="176"/>
            <a:chExt cx="680" cy="458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</p:grpSp>
      <p:grpSp>
        <p:nvGrpSpPr>
          <p:cNvPr id="40" name="McKSticker" hidden="1"/>
          <p:cNvGrpSpPr/>
          <p:nvPr/>
        </p:nvGrpSpPr>
        <p:grpSpPr bwMode="auto">
          <a:xfrm>
            <a:off x="7804861" y="264798"/>
            <a:ext cx="1000722" cy="212366"/>
            <a:chOff x="7760033" y="285750"/>
            <a:chExt cx="980742" cy="208138"/>
          </a:xfrm>
        </p:grpSpPr>
        <p:sp>
          <p:nvSpPr>
            <p:cNvPr id="41" name="StickerRectangle"/>
            <p:cNvSpPr>
              <a:spLocks noChangeArrowheads="1"/>
            </p:cNvSpPr>
            <p:nvPr/>
          </p:nvSpPr>
          <p:spPr bwMode="auto">
            <a:xfrm>
              <a:off x="7760033" y="285750"/>
              <a:ext cx="980742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2" name="AutoShape 31"/>
            <p:cNvCxnSpPr>
              <a:cxnSpLocks noChangeShapeType="1"/>
              <a:stCxn id="41" idx="2"/>
              <a:endCxn id="41" idx="4"/>
            </p:cNvCxnSpPr>
            <p:nvPr/>
          </p:nvCxnSpPr>
          <p:spPr bwMode="auto">
            <a:xfrm>
              <a:off x="7760033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" name="AutoShape 32"/>
            <p:cNvCxnSpPr>
              <a:cxnSpLocks noChangeShapeType="1"/>
              <a:stCxn id="41" idx="4"/>
              <a:endCxn id="41" idx="6"/>
            </p:cNvCxnSpPr>
            <p:nvPr/>
          </p:nvCxnSpPr>
          <p:spPr bwMode="auto">
            <a:xfrm>
              <a:off x="7760033" y="493888"/>
              <a:ext cx="98074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4" name="LegendMoons" hidden="1"/>
          <p:cNvGrpSpPr/>
          <p:nvPr/>
        </p:nvGrpSpPr>
        <p:grpSpPr bwMode="auto">
          <a:xfrm>
            <a:off x="7950987" y="264798"/>
            <a:ext cx="854596" cy="1333054"/>
            <a:chOff x="7875175" y="286625"/>
            <a:chExt cx="837534" cy="1306516"/>
          </a:xfrm>
        </p:grpSpPr>
        <p:grpSp>
          <p:nvGrpSpPr>
            <p:cNvPr id="45" name="MoonLegend2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grpSp>
          <p:nvGrpSpPr>
            <p:cNvPr id="46" name="MoonLegend4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grpSp>
          <p:nvGrpSpPr>
            <p:cNvPr id="47" name="MoonLegend5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grpSp>
          <p:nvGrpSpPr>
            <p:cNvPr id="53" name="MoonLegend3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grpSp>
          <p:nvGrpSpPr>
            <p:cNvPr id="54" name="MoonLegend1"/>
            <p:cNvGrpSpPr>
              <a:grpSpLocks noChangeAspect="1"/>
            </p:cNvGrpSpPr>
            <p:nvPr userDrawn="1">
              <p:custDataLst>
                <p:tags r:id="rId17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55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56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</p:grpSp>
      <p:grpSp>
        <p:nvGrpSpPr>
          <p:cNvPr id="65" name="McK Moon" hidden="1"/>
          <p:cNvGrpSpPr>
            <a:grpSpLocks noChangeAspect="1"/>
          </p:cNvGrpSpPr>
          <p:nvPr>
            <p:custDataLst>
              <p:tags r:id="rId10"/>
            </p:custDataLst>
          </p:nvPr>
        </p:nvGrpSpPr>
        <p:grpSpPr bwMode="auto">
          <a:xfrm>
            <a:off x="8546409" y="1793437"/>
            <a:ext cx="259174" cy="259159"/>
            <a:chOff x="1600" y="1600"/>
            <a:chExt cx="160" cy="160"/>
          </a:xfrm>
        </p:grpSpPr>
        <p:sp>
          <p:nvSpPr>
            <p:cNvPr id="66" name="Oval 90"/>
            <p:cNvSpPr>
              <a:spLocks noChangeAspect="1"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  <a:latin typeface="Arial" charset="0"/>
              </a:endParaRPr>
            </a:p>
          </p:txBody>
        </p:sp>
        <p:sp>
          <p:nvSpPr>
            <p:cNvPr id="67" name="Arc 91"/>
            <p:cNvSpPr>
              <a:spLocks noChangeAspect="1"/>
            </p:cNvSpPr>
            <p:nvPr>
              <p:custDataLst>
                <p:tags r:id="rId12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  <a:latin typeface="Arial" charset="0"/>
              </a:endParaRPr>
            </a:p>
          </p:txBody>
        </p:sp>
      </p:grpSp>
      <p:pic>
        <p:nvPicPr>
          <p:cNvPr id="69" name="Picture 68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6809" y="6087040"/>
            <a:ext cx="752475" cy="752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863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09" r:id="rId2"/>
    <p:sldLayoutId id="2147483810" r:id="rId3"/>
    <p:sldLayoutId id="2147483811" r:id="rId4"/>
    <p:sldLayoutId id="2147483812" r:id="rId5"/>
    <p:sldLayoutId id="2147483813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2pPr>
      <a:lvl3pPr marL="393700" indent="-19526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00" baseline="0">
          <a:solidFill>
            <a:schemeClr val="tx1"/>
          </a:solidFill>
          <a:latin typeface="+mn-lt"/>
        </a:defRPr>
      </a:lvl3pPr>
      <a:lvl4pPr marL="625475" indent="-22225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Open Sans" pitchFamily="34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173761939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27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Slide Number"/>
          <p:cNvSpPr txBox="1">
            <a:spLocks/>
          </p:cNvSpPr>
          <p:nvPr/>
        </p:nvSpPr>
        <p:spPr bwMode="auto">
          <a:xfrm>
            <a:off x="8645289" y="6594083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7E7E82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7E7E82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38418" y="228736"/>
            <a:ext cx="846716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338418" y="8099"/>
            <a:ext cx="75463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338418" y="541311"/>
            <a:ext cx="846716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Open Sans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888574" y="6381795"/>
            <a:ext cx="7916327" cy="369302"/>
            <a:chOff x="75" y="3904"/>
            <a:chExt cx="5601" cy="22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04"/>
              <a:ext cx="5601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7E7E82"/>
                  </a:solidFill>
                  <a:latin typeface="Open Sans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37"/>
              <a:ext cx="5086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552450" indent="-552450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n-US" sz="1000" dirty="0">
                  <a:solidFill>
                    <a:srgbClr val="7E7E82"/>
                  </a:solidFill>
                </a:rPr>
                <a:t>SOURCE: </a:t>
              </a:r>
              <a:r>
                <a:rPr lang="en-US" sz="1000" dirty="0" smtClean="0">
                  <a:solidFill>
                    <a:srgbClr val="7E7E82"/>
                  </a:solidFill>
                </a:rPr>
                <a:t>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392981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7E7E82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4" name="LegendBoxes" hidden="1"/>
          <p:cNvGrpSpPr>
            <a:grpSpLocks/>
          </p:cNvGrpSpPr>
          <p:nvPr/>
        </p:nvGrpSpPr>
        <p:grpSpPr bwMode="auto">
          <a:xfrm>
            <a:off x="8018340" y="264799"/>
            <a:ext cx="787243" cy="1013962"/>
            <a:chOff x="4936" y="176"/>
            <a:chExt cx="486" cy="626"/>
          </a:xfrm>
        </p:grpSpPr>
        <p:sp>
          <p:nvSpPr>
            <p:cNvPr id="2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/>
        </p:nvGrpSpPr>
        <p:grpSpPr bwMode="auto">
          <a:xfrm>
            <a:off x="7704091" y="264799"/>
            <a:ext cx="1101492" cy="741845"/>
            <a:chOff x="4750" y="176"/>
            <a:chExt cx="680" cy="458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</p:grpSp>
      <p:grpSp>
        <p:nvGrpSpPr>
          <p:cNvPr id="40" name="McKSticker" hidden="1"/>
          <p:cNvGrpSpPr/>
          <p:nvPr/>
        </p:nvGrpSpPr>
        <p:grpSpPr bwMode="auto">
          <a:xfrm>
            <a:off x="7804861" y="264798"/>
            <a:ext cx="1000722" cy="212366"/>
            <a:chOff x="7760033" y="285750"/>
            <a:chExt cx="980742" cy="208138"/>
          </a:xfrm>
        </p:grpSpPr>
        <p:sp>
          <p:nvSpPr>
            <p:cNvPr id="41" name="StickerRectangle"/>
            <p:cNvSpPr>
              <a:spLocks noChangeArrowheads="1"/>
            </p:cNvSpPr>
            <p:nvPr/>
          </p:nvSpPr>
          <p:spPr bwMode="auto">
            <a:xfrm>
              <a:off x="7760033" y="285750"/>
              <a:ext cx="980742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2" name="AutoShape 31"/>
            <p:cNvCxnSpPr>
              <a:cxnSpLocks noChangeShapeType="1"/>
              <a:stCxn id="41" idx="2"/>
              <a:endCxn id="41" idx="4"/>
            </p:cNvCxnSpPr>
            <p:nvPr/>
          </p:nvCxnSpPr>
          <p:spPr bwMode="auto">
            <a:xfrm>
              <a:off x="7760033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" name="AutoShape 32"/>
            <p:cNvCxnSpPr>
              <a:cxnSpLocks noChangeShapeType="1"/>
              <a:stCxn id="41" idx="4"/>
              <a:endCxn id="41" idx="6"/>
            </p:cNvCxnSpPr>
            <p:nvPr/>
          </p:nvCxnSpPr>
          <p:spPr bwMode="auto">
            <a:xfrm>
              <a:off x="7760033" y="493888"/>
              <a:ext cx="98074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4" name="LegendMoons" hidden="1"/>
          <p:cNvGrpSpPr/>
          <p:nvPr/>
        </p:nvGrpSpPr>
        <p:grpSpPr bwMode="auto">
          <a:xfrm>
            <a:off x="7950987" y="264798"/>
            <a:ext cx="854596" cy="1333054"/>
            <a:chOff x="7875175" y="286625"/>
            <a:chExt cx="837534" cy="1306516"/>
          </a:xfrm>
        </p:grpSpPr>
        <p:grpSp>
          <p:nvGrpSpPr>
            <p:cNvPr id="45" name="MoonLegend2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grpSp>
          <p:nvGrpSpPr>
            <p:cNvPr id="46" name="MoonLegend4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grpSp>
          <p:nvGrpSpPr>
            <p:cNvPr id="47" name="MoonLegend5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grpSp>
          <p:nvGrpSpPr>
            <p:cNvPr id="53" name="MoonLegend3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grpSp>
          <p:nvGrpSpPr>
            <p:cNvPr id="54" name="MoonLegend1"/>
            <p:cNvGrpSpPr>
              <a:grpSpLocks noChangeAspect="1"/>
            </p:cNvGrpSpPr>
            <p:nvPr userDrawn="1">
              <p:custDataLst>
                <p:tags r:id="rId18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55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56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</p:grpSp>
      <p:grpSp>
        <p:nvGrpSpPr>
          <p:cNvPr id="65" name="McK Moon" hidden="1"/>
          <p:cNvGrpSpPr>
            <a:grpSpLocks noChangeAspect="1"/>
          </p:cNvGrpSpPr>
          <p:nvPr>
            <p:custDataLst>
              <p:tags r:id="rId11"/>
            </p:custDataLst>
          </p:nvPr>
        </p:nvGrpSpPr>
        <p:grpSpPr bwMode="auto">
          <a:xfrm>
            <a:off x="8546409" y="1793437"/>
            <a:ext cx="259174" cy="259159"/>
            <a:chOff x="1600" y="1600"/>
            <a:chExt cx="160" cy="160"/>
          </a:xfrm>
        </p:grpSpPr>
        <p:sp>
          <p:nvSpPr>
            <p:cNvPr id="66" name="Oval 90"/>
            <p:cNvSpPr>
              <a:spLocks noChangeAspect="1"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  <a:latin typeface="Arial" charset="0"/>
              </a:endParaRPr>
            </a:p>
          </p:txBody>
        </p:sp>
        <p:sp>
          <p:nvSpPr>
            <p:cNvPr id="67" name="Arc 91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  <a:latin typeface="Arial" charset="0"/>
              </a:endParaRPr>
            </a:p>
          </p:txBody>
        </p:sp>
      </p:grpSp>
      <p:pic>
        <p:nvPicPr>
          <p:cNvPr id="69" name="Picture 68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6809" y="6087040"/>
            <a:ext cx="752475" cy="752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0696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7" r:id="rId2"/>
    <p:sldLayoutId id="2147483818" r:id="rId3"/>
    <p:sldLayoutId id="2147483819" r:id="rId4"/>
    <p:sldLayoutId id="2147483820" r:id="rId5"/>
    <p:sldLayoutId id="2147483821" r:id="rId6"/>
    <p:sldLayoutId id="2147483822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2pPr>
      <a:lvl3pPr marL="393700" indent="-19526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00" baseline="0">
          <a:solidFill>
            <a:schemeClr val="tx1"/>
          </a:solidFill>
          <a:latin typeface="+mn-lt"/>
        </a:defRPr>
      </a:lvl3pPr>
      <a:lvl4pPr marL="625475" indent="-22225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Open Sans" pitchFamily="34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088784759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95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Slide Number"/>
          <p:cNvSpPr txBox="1">
            <a:spLocks/>
          </p:cNvSpPr>
          <p:nvPr/>
        </p:nvSpPr>
        <p:spPr bwMode="auto">
          <a:xfrm>
            <a:off x="8645289" y="6594083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7E7E82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7E7E82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38418" y="228736"/>
            <a:ext cx="846716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338418" y="8099"/>
            <a:ext cx="75463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338418" y="541311"/>
            <a:ext cx="846716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Open Sans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888574" y="6381795"/>
            <a:ext cx="7916327" cy="369302"/>
            <a:chOff x="75" y="3904"/>
            <a:chExt cx="5601" cy="22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04"/>
              <a:ext cx="5601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7E7E82"/>
                  </a:solidFill>
                  <a:latin typeface="Open Sans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37"/>
              <a:ext cx="5086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552450" indent="-552450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n-US" sz="1000" dirty="0">
                  <a:solidFill>
                    <a:srgbClr val="7E7E82"/>
                  </a:solidFill>
                </a:rPr>
                <a:t>SOURCE: </a:t>
              </a:r>
              <a:r>
                <a:rPr lang="en-US" sz="1000" dirty="0" smtClean="0">
                  <a:solidFill>
                    <a:srgbClr val="7E7E82"/>
                  </a:solidFill>
                </a:rPr>
                <a:t>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392981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7E7E82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4" name="LegendBoxes" hidden="1"/>
          <p:cNvGrpSpPr>
            <a:grpSpLocks/>
          </p:cNvGrpSpPr>
          <p:nvPr/>
        </p:nvGrpSpPr>
        <p:grpSpPr bwMode="auto">
          <a:xfrm>
            <a:off x="8018340" y="264799"/>
            <a:ext cx="787243" cy="1013962"/>
            <a:chOff x="4936" y="176"/>
            <a:chExt cx="486" cy="626"/>
          </a:xfrm>
        </p:grpSpPr>
        <p:sp>
          <p:nvSpPr>
            <p:cNvPr id="2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/>
        </p:nvGrpSpPr>
        <p:grpSpPr bwMode="auto">
          <a:xfrm>
            <a:off x="7704091" y="264799"/>
            <a:ext cx="1101492" cy="741845"/>
            <a:chOff x="4750" y="176"/>
            <a:chExt cx="680" cy="458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</p:grpSp>
      <p:grpSp>
        <p:nvGrpSpPr>
          <p:cNvPr id="40" name="McKSticker" hidden="1"/>
          <p:cNvGrpSpPr/>
          <p:nvPr/>
        </p:nvGrpSpPr>
        <p:grpSpPr bwMode="auto">
          <a:xfrm>
            <a:off x="7804861" y="264798"/>
            <a:ext cx="1000722" cy="212366"/>
            <a:chOff x="7760033" y="285750"/>
            <a:chExt cx="980742" cy="208138"/>
          </a:xfrm>
        </p:grpSpPr>
        <p:sp>
          <p:nvSpPr>
            <p:cNvPr id="41" name="StickerRectangle"/>
            <p:cNvSpPr>
              <a:spLocks noChangeArrowheads="1"/>
            </p:cNvSpPr>
            <p:nvPr/>
          </p:nvSpPr>
          <p:spPr bwMode="auto">
            <a:xfrm>
              <a:off x="7760033" y="285750"/>
              <a:ext cx="980742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2" name="AutoShape 31"/>
            <p:cNvCxnSpPr>
              <a:cxnSpLocks noChangeShapeType="1"/>
              <a:stCxn id="41" idx="2"/>
              <a:endCxn id="41" idx="4"/>
            </p:cNvCxnSpPr>
            <p:nvPr/>
          </p:nvCxnSpPr>
          <p:spPr bwMode="auto">
            <a:xfrm>
              <a:off x="7760033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" name="AutoShape 32"/>
            <p:cNvCxnSpPr>
              <a:cxnSpLocks noChangeShapeType="1"/>
              <a:stCxn id="41" idx="4"/>
              <a:endCxn id="41" idx="6"/>
            </p:cNvCxnSpPr>
            <p:nvPr/>
          </p:nvCxnSpPr>
          <p:spPr bwMode="auto">
            <a:xfrm>
              <a:off x="7760033" y="493888"/>
              <a:ext cx="98074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4" name="LegendMoons" hidden="1"/>
          <p:cNvGrpSpPr/>
          <p:nvPr/>
        </p:nvGrpSpPr>
        <p:grpSpPr bwMode="auto">
          <a:xfrm>
            <a:off x="7950987" y="264798"/>
            <a:ext cx="854596" cy="1333054"/>
            <a:chOff x="7875175" y="286625"/>
            <a:chExt cx="837534" cy="1306516"/>
          </a:xfrm>
        </p:grpSpPr>
        <p:grpSp>
          <p:nvGrpSpPr>
            <p:cNvPr id="45" name="MoonLegend2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grpSp>
          <p:nvGrpSpPr>
            <p:cNvPr id="46" name="MoonLegend4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grpSp>
          <p:nvGrpSpPr>
            <p:cNvPr id="47" name="MoonLegend5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grpSp>
          <p:nvGrpSpPr>
            <p:cNvPr id="53" name="MoonLegend3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grpSp>
          <p:nvGrpSpPr>
            <p:cNvPr id="54" name="MoonLegend1"/>
            <p:cNvGrpSpPr>
              <a:grpSpLocks noChangeAspect="1"/>
            </p:cNvGrpSpPr>
            <p:nvPr userDrawn="1">
              <p:custDataLst>
                <p:tags r:id="rId18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55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56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</p:grpSp>
      <p:grpSp>
        <p:nvGrpSpPr>
          <p:cNvPr id="65" name="McK Moon" hidden="1"/>
          <p:cNvGrpSpPr>
            <a:grpSpLocks noChangeAspect="1"/>
          </p:cNvGrpSpPr>
          <p:nvPr>
            <p:custDataLst>
              <p:tags r:id="rId11"/>
            </p:custDataLst>
          </p:nvPr>
        </p:nvGrpSpPr>
        <p:grpSpPr bwMode="auto">
          <a:xfrm>
            <a:off x="8546409" y="1793437"/>
            <a:ext cx="259174" cy="259159"/>
            <a:chOff x="1600" y="1600"/>
            <a:chExt cx="160" cy="160"/>
          </a:xfrm>
        </p:grpSpPr>
        <p:sp>
          <p:nvSpPr>
            <p:cNvPr id="66" name="Oval 90"/>
            <p:cNvSpPr>
              <a:spLocks noChangeAspect="1"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  <a:latin typeface="Arial" charset="0"/>
              </a:endParaRPr>
            </a:p>
          </p:txBody>
        </p:sp>
        <p:sp>
          <p:nvSpPr>
            <p:cNvPr id="67" name="Arc 91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  <a:latin typeface="Arial" charset="0"/>
              </a:endParaRPr>
            </a:p>
          </p:txBody>
        </p:sp>
      </p:grpSp>
      <p:pic>
        <p:nvPicPr>
          <p:cNvPr id="69" name="Picture 68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6809" y="6087040"/>
            <a:ext cx="752475" cy="752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83651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4" r:id="rId1"/>
    <p:sldLayoutId id="2147483825" r:id="rId2"/>
    <p:sldLayoutId id="2147483826" r:id="rId3"/>
    <p:sldLayoutId id="2147483827" r:id="rId4"/>
    <p:sldLayoutId id="2147483828" r:id="rId5"/>
    <p:sldLayoutId id="2147483829" r:id="rId6"/>
    <p:sldLayoutId id="2147483830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2pPr>
      <a:lvl3pPr marL="393700" indent="-19526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00" baseline="0">
          <a:solidFill>
            <a:schemeClr val="tx1"/>
          </a:solidFill>
          <a:latin typeface="+mn-lt"/>
        </a:defRPr>
      </a:lvl3pPr>
      <a:lvl4pPr marL="625475" indent="-22225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Open Sans" pitchFamily="34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064377621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63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Slide Number"/>
          <p:cNvSpPr txBox="1">
            <a:spLocks/>
          </p:cNvSpPr>
          <p:nvPr/>
        </p:nvSpPr>
        <p:spPr bwMode="auto">
          <a:xfrm>
            <a:off x="8645289" y="6594083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7E7E82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7E7E82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38418" y="228736"/>
            <a:ext cx="846716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338418" y="8099"/>
            <a:ext cx="75463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338418" y="541311"/>
            <a:ext cx="846716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Open Sans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888574" y="6381795"/>
            <a:ext cx="7916327" cy="369302"/>
            <a:chOff x="75" y="3904"/>
            <a:chExt cx="5601" cy="22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04"/>
              <a:ext cx="5601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7E7E82"/>
                  </a:solidFill>
                  <a:latin typeface="Open Sans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37"/>
              <a:ext cx="5086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552450" indent="-552450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n-US" sz="1000" dirty="0">
                  <a:solidFill>
                    <a:srgbClr val="7E7E82"/>
                  </a:solidFill>
                </a:rPr>
                <a:t>SOURCE: </a:t>
              </a:r>
              <a:r>
                <a:rPr lang="en-US" sz="1000" dirty="0" smtClean="0">
                  <a:solidFill>
                    <a:srgbClr val="7E7E82"/>
                  </a:solidFill>
                </a:rPr>
                <a:t>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392981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7E7E82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4" name="LegendBoxes" hidden="1"/>
          <p:cNvGrpSpPr>
            <a:grpSpLocks/>
          </p:cNvGrpSpPr>
          <p:nvPr/>
        </p:nvGrpSpPr>
        <p:grpSpPr bwMode="auto">
          <a:xfrm>
            <a:off x="8018340" y="264799"/>
            <a:ext cx="787243" cy="1013962"/>
            <a:chOff x="4936" y="176"/>
            <a:chExt cx="486" cy="626"/>
          </a:xfrm>
        </p:grpSpPr>
        <p:sp>
          <p:nvSpPr>
            <p:cNvPr id="2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/>
        </p:nvGrpSpPr>
        <p:grpSpPr bwMode="auto">
          <a:xfrm>
            <a:off x="7704091" y="264799"/>
            <a:ext cx="1101492" cy="741845"/>
            <a:chOff x="4750" y="176"/>
            <a:chExt cx="680" cy="458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</p:grpSp>
      <p:grpSp>
        <p:nvGrpSpPr>
          <p:cNvPr id="40" name="McKSticker" hidden="1"/>
          <p:cNvGrpSpPr/>
          <p:nvPr/>
        </p:nvGrpSpPr>
        <p:grpSpPr bwMode="auto">
          <a:xfrm>
            <a:off x="7804861" y="264798"/>
            <a:ext cx="1000722" cy="212366"/>
            <a:chOff x="7760033" y="285750"/>
            <a:chExt cx="980742" cy="208138"/>
          </a:xfrm>
        </p:grpSpPr>
        <p:sp>
          <p:nvSpPr>
            <p:cNvPr id="41" name="StickerRectangle"/>
            <p:cNvSpPr>
              <a:spLocks noChangeArrowheads="1"/>
            </p:cNvSpPr>
            <p:nvPr/>
          </p:nvSpPr>
          <p:spPr bwMode="auto">
            <a:xfrm>
              <a:off x="7760033" y="285750"/>
              <a:ext cx="980742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2" name="AutoShape 31"/>
            <p:cNvCxnSpPr>
              <a:cxnSpLocks noChangeShapeType="1"/>
              <a:stCxn id="41" idx="2"/>
              <a:endCxn id="41" idx="4"/>
            </p:cNvCxnSpPr>
            <p:nvPr/>
          </p:nvCxnSpPr>
          <p:spPr bwMode="auto">
            <a:xfrm>
              <a:off x="7760033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" name="AutoShape 32"/>
            <p:cNvCxnSpPr>
              <a:cxnSpLocks noChangeShapeType="1"/>
              <a:stCxn id="41" idx="4"/>
              <a:endCxn id="41" idx="6"/>
            </p:cNvCxnSpPr>
            <p:nvPr/>
          </p:nvCxnSpPr>
          <p:spPr bwMode="auto">
            <a:xfrm>
              <a:off x="7760033" y="493888"/>
              <a:ext cx="98074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4" name="LegendMoons" hidden="1"/>
          <p:cNvGrpSpPr/>
          <p:nvPr/>
        </p:nvGrpSpPr>
        <p:grpSpPr bwMode="auto">
          <a:xfrm>
            <a:off x="7950987" y="264798"/>
            <a:ext cx="854596" cy="1333054"/>
            <a:chOff x="7875175" y="286625"/>
            <a:chExt cx="837534" cy="1306516"/>
          </a:xfrm>
        </p:grpSpPr>
        <p:grpSp>
          <p:nvGrpSpPr>
            <p:cNvPr id="45" name="MoonLegend2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grpSp>
          <p:nvGrpSpPr>
            <p:cNvPr id="46" name="MoonLegend4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grpSp>
          <p:nvGrpSpPr>
            <p:cNvPr id="47" name="MoonLegend5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grpSp>
          <p:nvGrpSpPr>
            <p:cNvPr id="53" name="MoonLegend3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grpSp>
          <p:nvGrpSpPr>
            <p:cNvPr id="54" name="MoonLegend1"/>
            <p:cNvGrpSpPr>
              <a:grpSpLocks noChangeAspect="1"/>
            </p:cNvGrpSpPr>
            <p:nvPr userDrawn="1">
              <p:custDataLst>
                <p:tags r:id="rId18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55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56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</p:grpSp>
      <p:grpSp>
        <p:nvGrpSpPr>
          <p:cNvPr id="65" name="McK Moon" hidden="1"/>
          <p:cNvGrpSpPr>
            <a:grpSpLocks noChangeAspect="1"/>
          </p:cNvGrpSpPr>
          <p:nvPr>
            <p:custDataLst>
              <p:tags r:id="rId11"/>
            </p:custDataLst>
          </p:nvPr>
        </p:nvGrpSpPr>
        <p:grpSpPr bwMode="auto">
          <a:xfrm>
            <a:off x="8546409" y="1793437"/>
            <a:ext cx="259174" cy="259159"/>
            <a:chOff x="1600" y="1600"/>
            <a:chExt cx="160" cy="160"/>
          </a:xfrm>
        </p:grpSpPr>
        <p:sp>
          <p:nvSpPr>
            <p:cNvPr id="66" name="Oval 90"/>
            <p:cNvSpPr>
              <a:spLocks noChangeAspect="1"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  <a:latin typeface="Arial" charset="0"/>
              </a:endParaRPr>
            </a:p>
          </p:txBody>
        </p:sp>
        <p:sp>
          <p:nvSpPr>
            <p:cNvPr id="67" name="Arc 91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  <a:latin typeface="Arial" charset="0"/>
              </a:endParaRPr>
            </a:p>
          </p:txBody>
        </p:sp>
      </p:grpSp>
      <p:pic>
        <p:nvPicPr>
          <p:cNvPr id="69" name="Picture 68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6809" y="6087040"/>
            <a:ext cx="752475" cy="752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763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  <p:sldLayoutId id="2147483837" r:id="rId6"/>
    <p:sldLayoutId id="2147483838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2pPr>
      <a:lvl3pPr marL="393700" indent="-19526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00" baseline="0">
          <a:solidFill>
            <a:schemeClr val="tx1"/>
          </a:solidFill>
          <a:latin typeface="+mn-lt"/>
        </a:defRPr>
      </a:lvl3pPr>
      <a:lvl4pPr marL="625475" indent="-22225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Open Sans" pitchFamily="34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615427804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31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Slide Number"/>
          <p:cNvSpPr txBox="1">
            <a:spLocks/>
          </p:cNvSpPr>
          <p:nvPr/>
        </p:nvSpPr>
        <p:spPr bwMode="auto">
          <a:xfrm>
            <a:off x="8645289" y="6594083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7E7E82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7E7E82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38418" y="228736"/>
            <a:ext cx="846716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338418" y="8099"/>
            <a:ext cx="75463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338418" y="541311"/>
            <a:ext cx="846716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Open Sans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888574" y="6381795"/>
            <a:ext cx="7916327" cy="369302"/>
            <a:chOff x="75" y="3904"/>
            <a:chExt cx="5601" cy="22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04"/>
              <a:ext cx="5601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7E7E82"/>
                  </a:solidFill>
                  <a:latin typeface="Open Sans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37"/>
              <a:ext cx="5086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552450" indent="-552450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n-US" sz="1000" dirty="0">
                  <a:solidFill>
                    <a:srgbClr val="7E7E82"/>
                  </a:solidFill>
                </a:rPr>
                <a:t>SOURCE: </a:t>
              </a:r>
              <a:r>
                <a:rPr lang="en-US" sz="1000" dirty="0" smtClean="0">
                  <a:solidFill>
                    <a:srgbClr val="7E7E82"/>
                  </a:solidFill>
                </a:rPr>
                <a:t>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392981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7E7E82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4" name="LegendBoxes" hidden="1"/>
          <p:cNvGrpSpPr>
            <a:grpSpLocks/>
          </p:cNvGrpSpPr>
          <p:nvPr/>
        </p:nvGrpSpPr>
        <p:grpSpPr bwMode="auto">
          <a:xfrm>
            <a:off x="8018340" y="264799"/>
            <a:ext cx="787243" cy="1013962"/>
            <a:chOff x="4936" y="176"/>
            <a:chExt cx="486" cy="626"/>
          </a:xfrm>
        </p:grpSpPr>
        <p:sp>
          <p:nvSpPr>
            <p:cNvPr id="2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/>
        </p:nvGrpSpPr>
        <p:grpSpPr bwMode="auto">
          <a:xfrm>
            <a:off x="7704091" y="264799"/>
            <a:ext cx="1101492" cy="741845"/>
            <a:chOff x="4750" y="176"/>
            <a:chExt cx="680" cy="458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</p:grpSp>
      <p:grpSp>
        <p:nvGrpSpPr>
          <p:cNvPr id="40" name="McKSticker" hidden="1"/>
          <p:cNvGrpSpPr/>
          <p:nvPr/>
        </p:nvGrpSpPr>
        <p:grpSpPr bwMode="auto">
          <a:xfrm>
            <a:off x="7804861" y="264798"/>
            <a:ext cx="1000722" cy="212366"/>
            <a:chOff x="7760033" y="285750"/>
            <a:chExt cx="980742" cy="208138"/>
          </a:xfrm>
        </p:grpSpPr>
        <p:sp>
          <p:nvSpPr>
            <p:cNvPr id="41" name="StickerRectangle"/>
            <p:cNvSpPr>
              <a:spLocks noChangeArrowheads="1"/>
            </p:cNvSpPr>
            <p:nvPr/>
          </p:nvSpPr>
          <p:spPr bwMode="auto">
            <a:xfrm>
              <a:off x="7760033" y="285750"/>
              <a:ext cx="980742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2" name="AutoShape 31"/>
            <p:cNvCxnSpPr>
              <a:cxnSpLocks noChangeShapeType="1"/>
              <a:stCxn id="41" idx="2"/>
              <a:endCxn id="41" idx="4"/>
            </p:cNvCxnSpPr>
            <p:nvPr/>
          </p:nvCxnSpPr>
          <p:spPr bwMode="auto">
            <a:xfrm>
              <a:off x="7760033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" name="AutoShape 32"/>
            <p:cNvCxnSpPr>
              <a:cxnSpLocks noChangeShapeType="1"/>
              <a:stCxn id="41" idx="4"/>
              <a:endCxn id="41" idx="6"/>
            </p:cNvCxnSpPr>
            <p:nvPr/>
          </p:nvCxnSpPr>
          <p:spPr bwMode="auto">
            <a:xfrm>
              <a:off x="7760033" y="493888"/>
              <a:ext cx="98074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4" name="LegendMoons" hidden="1"/>
          <p:cNvGrpSpPr/>
          <p:nvPr/>
        </p:nvGrpSpPr>
        <p:grpSpPr bwMode="auto">
          <a:xfrm>
            <a:off x="7950987" y="264798"/>
            <a:ext cx="854596" cy="1333054"/>
            <a:chOff x="7875175" y="286625"/>
            <a:chExt cx="837534" cy="1306516"/>
          </a:xfrm>
        </p:grpSpPr>
        <p:grpSp>
          <p:nvGrpSpPr>
            <p:cNvPr id="45" name="MoonLegend2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grpSp>
          <p:nvGrpSpPr>
            <p:cNvPr id="46" name="MoonLegend4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grpSp>
          <p:nvGrpSpPr>
            <p:cNvPr id="47" name="MoonLegend5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grpSp>
          <p:nvGrpSpPr>
            <p:cNvPr id="53" name="MoonLegend3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grpSp>
          <p:nvGrpSpPr>
            <p:cNvPr id="54" name="MoonLegend1"/>
            <p:cNvGrpSpPr>
              <a:grpSpLocks noChangeAspect="1"/>
            </p:cNvGrpSpPr>
            <p:nvPr userDrawn="1">
              <p:custDataLst>
                <p:tags r:id="rId18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55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56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</p:grpSp>
      <p:grpSp>
        <p:nvGrpSpPr>
          <p:cNvPr id="65" name="McK Moon" hidden="1"/>
          <p:cNvGrpSpPr>
            <a:grpSpLocks noChangeAspect="1"/>
          </p:cNvGrpSpPr>
          <p:nvPr>
            <p:custDataLst>
              <p:tags r:id="rId11"/>
            </p:custDataLst>
          </p:nvPr>
        </p:nvGrpSpPr>
        <p:grpSpPr bwMode="auto">
          <a:xfrm>
            <a:off x="8546409" y="1793437"/>
            <a:ext cx="259174" cy="259159"/>
            <a:chOff x="1600" y="1600"/>
            <a:chExt cx="160" cy="160"/>
          </a:xfrm>
        </p:grpSpPr>
        <p:sp>
          <p:nvSpPr>
            <p:cNvPr id="66" name="Oval 90"/>
            <p:cNvSpPr>
              <a:spLocks noChangeAspect="1"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  <a:latin typeface="Arial" charset="0"/>
              </a:endParaRPr>
            </a:p>
          </p:txBody>
        </p:sp>
        <p:sp>
          <p:nvSpPr>
            <p:cNvPr id="67" name="Arc 91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  <a:latin typeface="Arial" charset="0"/>
              </a:endParaRPr>
            </a:p>
          </p:txBody>
        </p:sp>
      </p:grpSp>
      <p:pic>
        <p:nvPicPr>
          <p:cNvPr id="69" name="Picture 68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6809" y="6087040"/>
            <a:ext cx="752475" cy="752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8334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0" r:id="rId1"/>
    <p:sldLayoutId id="2147483841" r:id="rId2"/>
    <p:sldLayoutId id="2147483842" r:id="rId3"/>
    <p:sldLayoutId id="2147483843" r:id="rId4"/>
    <p:sldLayoutId id="2147483844" r:id="rId5"/>
    <p:sldLayoutId id="2147483845" r:id="rId6"/>
    <p:sldLayoutId id="2147483846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2pPr>
      <a:lvl3pPr marL="393700" indent="-19526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00" baseline="0">
          <a:solidFill>
            <a:schemeClr val="tx1"/>
          </a:solidFill>
          <a:latin typeface="+mn-lt"/>
        </a:defRPr>
      </a:lvl3pPr>
      <a:lvl4pPr marL="625475" indent="-22225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Open Sans" pitchFamily="34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636725341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34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Slide Number"/>
          <p:cNvSpPr txBox="1">
            <a:spLocks/>
          </p:cNvSpPr>
          <p:nvPr/>
        </p:nvSpPr>
        <p:spPr bwMode="auto">
          <a:xfrm>
            <a:off x="8645289" y="6594083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7E7E82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7E7E82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38418" y="228736"/>
            <a:ext cx="846716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338418" y="8099"/>
            <a:ext cx="75463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338418" y="541311"/>
            <a:ext cx="846716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Open Sans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888574" y="6381795"/>
            <a:ext cx="7916327" cy="369302"/>
            <a:chOff x="75" y="3904"/>
            <a:chExt cx="5601" cy="22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04"/>
              <a:ext cx="5601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7E7E82"/>
                  </a:solidFill>
                  <a:latin typeface="Open Sans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37"/>
              <a:ext cx="5086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552450" indent="-552450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n-US" sz="1000" dirty="0">
                  <a:solidFill>
                    <a:srgbClr val="7E7E82"/>
                  </a:solidFill>
                </a:rPr>
                <a:t>SOURCE: </a:t>
              </a:r>
              <a:r>
                <a:rPr lang="en-US" sz="1000" dirty="0" smtClean="0">
                  <a:solidFill>
                    <a:srgbClr val="7E7E82"/>
                  </a:solidFill>
                </a:rPr>
                <a:t>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392981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7E7E82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4" name="LegendBoxes" hidden="1"/>
          <p:cNvGrpSpPr>
            <a:grpSpLocks/>
          </p:cNvGrpSpPr>
          <p:nvPr/>
        </p:nvGrpSpPr>
        <p:grpSpPr bwMode="auto">
          <a:xfrm>
            <a:off x="8018340" y="264799"/>
            <a:ext cx="787243" cy="1013962"/>
            <a:chOff x="4936" y="176"/>
            <a:chExt cx="486" cy="626"/>
          </a:xfrm>
        </p:grpSpPr>
        <p:sp>
          <p:nvSpPr>
            <p:cNvPr id="2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/>
        </p:nvGrpSpPr>
        <p:grpSpPr bwMode="auto">
          <a:xfrm>
            <a:off x="7704091" y="264799"/>
            <a:ext cx="1101492" cy="741845"/>
            <a:chOff x="4750" y="176"/>
            <a:chExt cx="680" cy="458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</p:grpSp>
      <p:grpSp>
        <p:nvGrpSpPr>
          <p:cNvPr id="40" name="McKSticker" hidden="1"/>
          <p:cNvGrpSpPr/>
          <p:nvPr/>
        </p:nvGrpSpPr>
        <p:grpSpPr bwMode="auto">
          <a:xfrm>
            <a:off x="7804861" y="264798"/>
            <a:ext cx="1000722" cy="212366"/>
            <a:chOff x="7760033" y="285750"/>
            <a:chExt cx="980742" cy="208138"/>
          </a:xfrm>
        </p:grpSpPr>
        <p:sp>
          <p:nvSpPr>
            <p:cNvPr id="41" name="StickerRectangle"/>
            <p:cNvSpPr>
              <a:spLocks noChangeArrowheads="1"/>
            </p:cNvSpPr>
            <p:nvPr/>
          </p:nvSpPr>
          <p:spPr bwMode="auto">
            <a:xfrm>
              <a:off x="7760033" y="285750"/>
              <a:ext cx="980742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2" name="AutoShape 31"/>
            <p:cNvCxnSpPr>
              <a:cxnSpLocks noChangeShapeType="1"/>
              <a:stCxn id="41" idx="2"/>
              <a:endCxn id="41" idx="4"/>
            </p:cNvCxnSpPr>
            <p:nvPr/>
          </p:nvCxnSpPr>
          <p:spPr bwMode="auto">
            <a:xfrm>
              <a:off x="7760033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" name="AutoShape 32"/>
            <p:cNvCxnSpPr>
              <a:cxnSpLocks noChangeShapeType="1"/>
              <a:stCxn id="41" idx="4"/>
              <a:endCxn id="41" idx="6"/>
            </p:cNvCxnSpPr>
            <p:nvPr/>
          </p:nvCxnSpPr>
          <p:spPr bwMode="auto">
            <a:xfrm>
              <a:off x="7760033" y="493888"/>
              <a:ext cx="98074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4" name="LegendMoons" hidden="1"/>
          <p:cNvGrpSpPr/>
          <p:nvPr/>
        </p:nvGrpSpPr>
        <p:grpSpPr bwMode="auto">
          <a:xfrm>
            <a:off x="7950987" y="264798"/>
            <a:ext cx="854596" cy="1333054"/>
            <a:chOff x="7875175" y="286625"/>
            <a:chExt cx="837534" cy="1306516"/>
          </a:xfrm>
        </p:grpSpPr>
        <p:grpSp>
          <p:nvGrpSpPr>
            <p:cNvPr id="45" name="MoonLegend2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grpSp>
          <p:nvGrpSpPr>
            <p:cNvPr id="46" name="MoonLegend4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grpSp>
          <p:nvGrpSpPr>
            <p:cNvPr id="47" name="MoonLegend5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grpSp>
          <p:nvGrpSpPr>
            <p:cNvPr id="53" name="MoonLegend3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grpSp>
          <p:nvGrpSpPr>
            <p:cNvPr id="54" name="MoonLegend1"/>
            <p:cNvGrpSpPr>
              <a:grpSpLocks noChangeAspect="1"/>
            </p:cNvGrpSpPr>
            <p:nvPr userDrawn="1">
              <p:custDataLst>
                <p:tags r:id="rId18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55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56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</p:grpSp>
      <p:grpSp>
        <p:nvGrpSpPr>
          <p:cNvPr id="65" name="McK Moon" hidden="1"/>
          <p:cNvGrpSpPr>
            <a:grpSpLocks noChangeAspect="1"/>
          </p:cNvGrpSpPr>
          <p:nvPr>
            <p:custDataLst>
              <p:tags r:id="rId11"/>
            </p:custDataLst>
          </p:nvPr>
        </p:nvGrpSpPr>
        <p:grpSpPr bwMode="auto">
          <a:xfrm>
            <a:off x="8546409" y="1793437"/>
            <a:ext cx="259174" cy="259159"/>
            <a:chOff x="1600" y="1600"/>
            <a:chExt cx="160" cy="160"/>
          </a:xfrm>
        </p:grpSpPr>
        <p:sp>
          <p:nvSpPr>
            <p:cNvPr id="66" name="Oval 90"/>
            <p:cNvSpPr>
              <a:spLocks noChangeAspect="1"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  <a:latin typeface="Arial" charset="0"/>
              </a:endParaRPr>
            </a:p>
          </p:txBody>
        </p:sp>
        <p:sp>
          <p:nvSpPr>
            <p:cNvPr id="67" name="Arc 91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  <a:latin typeface="Arial" charset="0"/>
              </a:endParaRPr>
            </a:p>
          </p:txBody>
        </p:sp>
      </p:grpSp>
      <p:pic>
        <p:nvPicPr>
          <p:cNvPr id="69" name="Picture 68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6809" y="6087040"/>
            <a:ext cx="752475" cy="752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3504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  <p:sldLayoutId id="2147483850" r:id="rId3"/>
    <p:sldLayoutId id="2147483851" r:id="rId4"/>
    <p:sldLayoutId id="2147483852" r:id="rId5"/>
    <p:sldLayoutId id="2147483853" r:id="rId6"/>
    <p:sldLayoutId id="2147483854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2pPr>
      <a:lvl3pPr marL="393700" indent="-19526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00" baseline="0">
          <a:solidFill>
            <a:schemeClr val="tx1"/>
          </a:solidFill>
          <a:latin typeface="+mn-lt"/>
        </a:defRPr>
      </a:lvl3pPr>
      <a:lvl4pPr marL="625475" indent="-22225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Open Sans" pitchFamily="34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13" name="think-cell Slide" r:id="rId30" imgW="270" imgH="270" progId="TCLayout.ActiveDocument.1">
                  <p:embed/>
                </p:oleObj>
              </mc:Choice>
              <mc:Fallback>
                <p:oleObj name="think-cell Slide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Slide Number"/>
          <p:cNvSpPr txBox="1">
            <a:spLocks/>
          </p:cNvSpPr>
          <p:nvPr/>
        </p:nvSpPr>
        <p:spPr bwMode="auto">
          <a:xfrm>
            <a:off x="8645289" y="6594083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7E7E82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7E7E82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38418" y="228736"/>
            <a:ext cx="846716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338418" y="8099"/>
            <a:ext cx="75463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338418" y="541311"/>
            <a:ext cx="846716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Open Sans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888574" y="6381795"/>
            <a:ext cx="7916327" cy="369302"/>
            <a:chOff x="75" y="3904"/>
            <a:chExt cx="5601" cy="22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04"/>
              <a:ext cx="5601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7E7E82"/>
                  </a:solidFill>
                  <a:latin typeface="Open Sans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37"/>
              <a:ext cx="5086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552450" indent="-552450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n-US" sz="1000" dirty="0">
                  <a:solidFill>
                    <a:srgbClr val="7E7E82"/>
                  </a:solidFill>
                </a:rPr>
                <a:t>SOURCE: </a:t>
              </a:r>
              <a:r>
                <a:rPr lang="en-US" sz="1000" dirty="0" smtClean="0">
                  <a:solidFill>
                    <a:srgbClr val="7E7E82"/>
                  </a:solidFill>
                </a:rPr>
                <a:t>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392981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7E7E82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4" name="LegendBoxes" hidden="1"/>
          <p:cNvGrpSpPr>
            <a:grpSpLocks/>
          </p:cNvGrpSpPr>
          <p:nvPr/>
        </p:nvGrpSpPr>
        <p:grpSpPr bwMode="auto">
          <a:xfrm>
            <a:off x="8018340" y="264799"/>
            <a:ext cx="787243" cy="1013962"/>
            <a:chOff x="4936" y="176"/>
            <a:chExt cx="486" cy="626"/>
          </a:xfrm>
        </p:grpSpPr>
        <p:sp>
          <p:nvSpPr>
            <p:cNvPr id="2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/>
        </p:nvGrpSpPr>
        <p:grpSpPr bwMode="auto">
          <a:xfrm>
            <a:off x="7704091" y="264799"/>
            <a:ext cx="1101492" cy="741845"/>
            <a:chOff x="4750" y="176"/>
            <a:chExt cx="680" cy="458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</p:grpSp>
      <p:grpSp>
        <p:nvGrpSpPr>
          <p:cNvPr id="40" name="McKSticker" hidden="1"/>
          <p:cNvGrpSpPr/>
          <p:nvPr/>
        </p:nvGrpSpPr>
        <p:grpSpPr bwMode="auto">
          <a:xfrm>
            <a:off x="7804861" y="264798"/>
            <a:ext cx="1000722" cy="212366"/>
            <a:chOff x="7760033" y="285750"/>
            <a:chExt cx="980742" cy="208138"/>
          </a:xfrm>
        </p:grpSpPr>
        <p:sp>
          <p:nvSpPr>
            <p:cNvPr id="41" name="StickerRectangle"/>
            <p:cNvSpPr>
              <a:spLocks noChangeArrowheads="1"/>
            </p:cNvSpPr>
            <p:nvPr/>
          </p:nvSpPr>
          <p:spPr bwMode="auto">
            <a:xfrm>
              <a:off x="7760033" y="285750"/>
              <a:ext cx="980742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2" name="AutoShape 31"/>
            <p:cNvCxnSpPr>
              <a:cxnSpLocks noChangeShapeType="1"/>
              <a:stCxn id="41" idx="2"/>
              <a:endCxn id="41" idx="4"/>
            </p:cNvCxnSpPr>
            <p:nvPr/>
          </p:nvCxnSpPr>
          <p:spPr bwMode="auto">
            <a:xfrm>
              <a:off x="7760033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" name="AutoShape 32"/>
            <p:cNvCxnSpPr>
              <a:cxnSpLocks noChangeShapeType="1"/>
              <a:stCxn id="41" idx="4"/>
              <a:endCxn id="41" idx="6"/>
            </p:cNvCxnSpPr>
            <p:nvPr/>
          </p:nvCxnSpPr>
          <p:spPr bwMode="auto">
            <a:xfrm>
              <a:off x="7760033" y="493888"/>
              <a:ext cx="98074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4" name="LegendMoons" hidden="1"/>
          <p:cNvGrpSpPr/>
          <p:nvPr/>
        </p:nvGrpSpPr>
        <p:grpSpPr bwMode="auto">
          <a:xfrm>
            <a:off x="7950987" y="264798"/>
            <a:ext cx="854596" cy="1333054"/>
            <a:chOff x="7875175" y="286625"/>
            <a:chExt cx="837534" cy="1306516"/>
          </a:xfrm>
        </p:grpSpPr>
        <p:grpSp>
          <p:nvGrpSpPr>
            <p:cNvPr id="45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grpSp>
          <p:nvGrpSpPr>
            <p:cNvPr id="46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grpSp>
          <p:nvGrpSpPr>
            <p:cNvPr id="47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grpSp>
          <p:nvGrpSpPr>
            <p:cNvPr id="53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grpSp>
          <p:nvGrpSpPr>
            <p:cNvPr id="54" name="MoonLegend1"/>
            <p:cNvGrpSpPr>
              <a:grpSpLocks noChangeAspect="1"/>
            </p:cNvGrpSpPr>
            <p:nvPr userDrawn="1">
              <p:custDataLst>
                <p:tags r:id="rId19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55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56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</p:grpSp>
      <p:grpSp>
        <p:nvGrpSpPr>
          <p:cNvPr id="65" name="McK Moon" hidden="1"/>
          <p:cNvGrpSpPr>
            <a:grpSpLocks noChangeAspect="1"/>
          </p:cNvGrpSpPr>
          <p:nvPr>
            <p:custDataLst>
              <p:tags r:id="rId12"/>
            </p:custDataLst>
          </p:nvPr>
        </p:nvGrpSpPr>
        <p:grpSpPr bwMode="auto">
          <a:xfrm>
            <a:off x="8546409" y="1793437"/>
            <a:ext cx="259174" cy="259159"/>
            <a:chOff x="1600" y="1600"/>
            <a:chExt cx="160" cy="160"/>
          </a:xfrm>
        </p:grpSpPr>
        <p:sp>
          <p:nvSpPr>
            <p:cNvPr id="66" name="Oval 90"/>
            <p:cNvSpPr>
              <a:spLocks noChangeAspect="1"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  <a:latin typeface="Arial" charset="0"/>
              </a:endParaRPr>
            </a:p>
          </p:txBody>
        </p:sp>
        <p:sp>
          <p:nvSpPr>
            <p:cNvPr id="67" name="Arc 91"/>
            <p:cNvSpPr>
              <a:spLocks noChangeAspect="1"/>
            </p:cNvSpPr>
            <p:nvPr>
              <p:custDataLst>
                <p:tags r:id="rId14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  <a:latin typeface="Arial" charset="0"/>
              </a:endParaRPr>
            </a:p>
          </p:txBody>
        </p:sp>
      </p:grpSp>
      <p:pic>
        <p:nvPicPr>
          <p:cNvPr id="69" name="Picture 68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6809" y="6087040"/>
            <a:ext cx="752475" cy="752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1806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865" r:id="rId2"/>
    <p:sldLayoutId id="2147483866" r:id="rId3"/>
    <p:sldLayoutId id="2147483867" r:id="rId4"/>
    <p:sldLayoutId id="2147483868" r:id="rId5"/>
    <p:sldLayoutId id="2147483869" r:id="rId6"/>
    <p:sldLayoutId id="2147483870" r:id="rId7"/>
    <p:sldLayoutId id="2147483905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2pPr>
      <a:lvl3pPr marL="393700" indent="-19526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00" baseline="0">
          <a:solidFill>
            <a:schemeClr val="tx1"/>
          </a:solidFill>
          <a:latin typeface="+mn-lt"/>
        </a:defRPr>
      </a:lvl3pPr>
      <a:lvl4pPr marL="625475" indent="-22225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Open Sans" pitchFamily="34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81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Slide Number"/>
          <p:cNvSpPr txBox="1">
            <a:spLocks/>
          </p:cNvSpPr>
          <p:nvPr/>
        </p:nvSpPr>
        <p:spPr bwMode="auto">
          <a:xfrm>
            <a:off x="8645289" y="6594083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7E7E82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7E7E82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38418" y="228736"/>
            <a:ext cx="846716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338418" y="8099"/>
            <a:ext cx="75463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338418" y="541311"/>
            <a:ext cx="846716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Open Sans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888574" y="6381795"/>
            <a:ext cx="7916327" cy="369302"/>
            <a:chOff x="75" y="3904"/>
            <a:chExt cx="5601" cy="22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04"/>
              <a:ext cx="5601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7E7E82"/>
                  </a:solidFill>
                  <a:latin typeface="Open Sans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37"/>
              <a:ext cx="5086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552450" indent="-552450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n-US" sz="1000" dirty="0">
                  <a:solidFill>
                    <a:srgbClr val="7E7E82"/>
                  </a:solidFill>
                </a:rPr>
                <a:t>SOURCE: </a:t>
              </a:r>
              <a:r>
                <a:rPr lang="en-US" sz="1000" dirty="0" smtClean="0">
                  <a:solidFill>
                    <a:srgbClr val="7E7E82"/>
                  </a:solidFill>
                </a:rPr>
                <a:t>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392981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7E7E82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4" name="LegendBoxes" hidden="1"/>
          <p:cNvGrpSpPr>
            <a:grpSpLocks/>
          </p:cNvGrpSpPr>
          <p:nvPr/>
        </p:nvGrpSpPr>
        <p:grpSpPr bwMode="auto">
          <a:xfrm>
            <a:off x="8018340" y="264799"/>
            <a:ext cx="787243" cy="1013962"/>
            <a:chOff x="4936" y="176"/>
            <a:chExt cx="486" cy="626"/>
          </a:xfrm>
        </p:grpSpPr>
        <p:sp>
          <p:nvSpPr>
            <p:cNvPr id="2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/>
        </p:nvGrpSpPr>
        <p:grpSpPr bwMode="auto">
          <a:xfrm>
            <a:off x="7704091" y="264799"/>
            <a:ext cx="1101492" cy="741845"/>
            <a:chOff x="4750" y="176"/>
            <a:chExt cx="680" cy="458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</p:grpSp>
      <p:grpSp>
        <p:nvGrpSpPr>
          <p:cNvPr id="40" name="McKSticker" hidden="1"/>
          <p:cNvGrpSpPr/>
          <p:nvPr/>
        </p:nvGrpSpPr>
        <p:grpSpPr bwMode="auto">
          <a:xfrm>
            <a:off x="7804861" y="264798"/>
            <a:ext cx="1000722" cy="212366"/>
            <a:chOff x="7760033" y="285750"/>
            <a:chExt cx="980742" cy="208138"/>
          </a:xfrm>
        </p:grpSpPr>
        <p:sp>
          <p:nvSpPr>
            <p:cNvPr id="41" name="StickerRectangle"/>
            <p:cNvSpPr>
              <a:spLocks noChangeArrowheads="1"/>
            </p:cNvSpPr>
            <p:nvPr/>
          </p:nvSpPr>
          <p:spPr bwMode="auto">
            <a:xfrm>
              <a:off x="7760033" y="285750"/>
              <a:ext cx="980742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2" name="AutoShape 31"/>
            <p:cNvCxnSpPr>
              <a:cxnSpLocks noChangeShapeType="1"/>
              <a:stCxn id="41" idx="2"/>
              <a:endCxn id="41" idx="4"/>
            </p:cNvCxnSpPr>
            <p:nvPr/>
          </p:nvCxnSpPr>
          <p:spPr bwMode="auto">
            <a:xfrm>
              <a:off x="7760033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" name="AutoShape 32"/>
            <p:cNvCxnSpPr>
              <a:cxnSpLocks noChangeShapeType="1"/>
              <a:stCxn id="41" idx="4"/>
              <a:endCxn id="41" idx="6"/>
            </p:cNvCxnSpPr>
            <p:nvPr/>
          </p:nvCxnSpPr>
          <p:spPr bwMode="auto">
            <a:xfrm>
              <a:off x="7760033" y="493888"/>
              <a:ext cx="98074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4" name="LegendMoons" hidden="1"/>
          <p:cNvGrpSpPr/>
          <p:nvPr/>
        </p:nvGrpSpPr>
        <p:grpSpPr bwMode="auto">
          <a:xfrm>
            <a:off x="7950987" y="264798"/>
            <a:ext cx="854596" cy="1333054"/>
            <a:chOff x="7875175" y="286625"/>
            <a:chExt cx="837534" cy="1306516"/>
          </a:xfrm>
        </p:grpSpPr>
        <p:grpSp>
          <p:nvGrpSpPr>
            <p:cNvPr id="45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grpSp>
          <p:nvGrpSpPr>
            <p:cNvPr id="46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grpSp>
          <p:nvGrpSpPr>
            <p:cNvPr id="47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grpSp>
          <p:nvGrpSpPr>
            <p:cNvPr id="53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grpSp>
          <p:nvGrpSpPr>
            <p:cNvPr id="54" name="MoonLegend1"/>
            <p:cNvGrpSpPr>
              <a:grpSpLocks noChangeAspect="1"/>
            </p:cNvGrpSpPr>
            <p:nvPr userDrawn="1">
              <p:custDataLst>
                <p:tags r:id="rId15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55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56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</p:grpSp>
      <p:grpSp>
        <p:nvGrpSpPr>
          <p:cNvPr id="65" name="McK Moon" hidden="1"/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auto">
          <a:xfrm>
            <a:off x="8546409" y="1793437"/>
            <a:ext cx="259174" cy="259159"/>
            <a:chOff x="1600" y="1600"/>
            <a:chExt cx="160" cy="160"/>
          </a:xfrm>
        </p:grpSpPr>
        <p:sp>
          <p:nvSpPr>
            <p:cNvPr id="66" name="Oval 90"/>
            <p:cNvSpPr>
              <a:spLocks noChangeAspect="1"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  <a:latin typeface="Arial" charset="0"/>
              </a:endParaRPr>
            </a:p>
          </p:txBody>
        </p:sp>
        <p:sp>
          <p:nvSpPr>
            <p:cNvPr id="67" name="Arc 91"/>
            <p:cNvSpPr>
              <a:spLocks noChangeAspect="1"/>
            </p:cNvSpPr>
            <p:nvPr>
              <p:custDataLst>
                <p:tags r:id="rId10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  <a:latin typeface="Arial" charset="0"/>
              </a:endParaRPr>
            </a:p>
          </p:txBody>
        </p:sp>
      </p:grpSp>
      <p:pic>
        <p:nvPicPr>
          <p:cNvPr id="69" name="Picture 68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6809" y="6087040"/>
            <a:ext cx="752475" cy="752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269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73" r:id="rId2"/>
    <p:sldLayoutId id="2147483874" r:id="rId3"/>
    <p:sldLayoutId id="2147483875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2pPr>
      <a:lvl3pPr marL="393700" indent="-19526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00" baseline="0">
          <a:solidFill>
            <a:schemeClr val="tx1"/>
          </a:solidFill>
          <a:latin typeface="+mn-lt"/>
        </a:defRPr>
      </a:lvl3pPr>
      <a:lvl4pPr marL="625475" indent="-22225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Open Sans" pitchFamily="34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24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Slide Number"/>
          <p:cNvSpPr txBox="1">
            <a:spLocks/>
          </p:cNvSpPr>
          <p:nvPr/>
        </p:nvSpPr>
        <p:spPr bwMode="auto">
          <a:xfrm>
            <a:off x="8645289" y="6594083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7E7E82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7E7E82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38418" y="228736"/>
            <a:ext cx="846716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338418" y="8099"/>
            <a:ext cx="75463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338418" y="541311"/>
            <a:ext cx="846716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Open Sans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888574" y="6381795"/>
            <a:ext cx="7916327" cy="369302"/>
            <a:chOff x="75" y="3904"/>
            <a:chExt cx="5601" cy="22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04"/>
              <a:ext cx="5601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7E7E82"/>
                  </a:solidFill>
                  <a:latin typeface="Open Sans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37"/>
              <a:ext cx="5086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552450" indent="-552450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n-US" sz="1000" dirty="0">
                  <a:solidFill>
                    <a:srgbClr val="7E7E82"/>
                  </a:solidFill>
                </a:rPr>
                <a:t>SOURCE: </a:t>
              </a:r>
              <a:r>
                <a:rPr lang="en-US" sz="1000" dirty="0" smtClean="0">
                  <a:solidFill>
                    <a:srgbClr val="7E7E82"/>
                  </a:solidFill>
                </a:rPr>
                <a:t>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392981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7E7E82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4" name="LegendBoxes" hidden="1"/>
          <p:cNvGrpSpPr>
            <a:grpSpLocks/>
          </p:cNvGrpSpPr>
          <p:nvPr/>
        </p:nvGrpSpPr>
        <p:grpSpPr bwMode="auto">
          <a:xfrm>
            <a:off x="8018340" y="264799"/>
            <a:ext cx="787243" cy="1013962"/>
            <a:chOff x="4936" y="176"/>
            <a:chExt cx="486" cy="626"/>
          </a:xfrm>
        </p:grpSpPr>
        <p:sp>
          <p:nvSpPr>
            <p:cNvPr id="2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/>
        </p:nvGrpSpPr>
        <p:grpSpPr bwMode="auto">
          <a:xfrm>
            <a:off x="7704091" y="264799"/>
            <a:ext cx="1101492" cy="741845"/>
            <a:chOff x="4750" y="176"/>
            <a:chExt cx="680" cy="458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</p:grpSp>
      <p:grpSp>
        <p:nvGrpSpPr>
          <p:cNvPr id="40" name="McKSticker" hidden="1"/>
          <p:cNvGrpSpPr/>
          <p:nvPr/>
        </p:nvGrpSpPr>
        <p:grpSpPr bwMode="auto">
          <a:xfrm>
            <a:off x="7804861" y="264798"/>
            <a:ext cx="1000722" cy="212366"/>
            <a:chOff x="7760033" y="285750"/>
            <a:chExt cx="980742" cy="208138"/>
          </a:xfrm>
        </p:grpSpPr>
        <p:sp>
          <p:nvSpPr>
            <p:cNvPr id="41" name="StickerRectangle"/>
            <p:cNvSpPr>
              <a:spLocks noChangeArrowheads="1"/>
            </p:cNvSpPr>
            <p:nvPr/>
          </p:nvSpPr>
          <p:spPr bwMode="auto">
            <a:xfrm>
              <a:off x="7760033" y="285750"/>
              <a:ext cx="980742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2" name="AutoShape 31"/>
            <p:cNvCxnSpPr>
              <a:cxnSpLocks noChangeShapeType="1"/>
              <a:stCxn id="41" idx="2"/>
              <a:endCxn id="41" idx="4"/>
            </p:cNvCxnSpPr>
            <p:nvPr/>
          </p:nvCxnSpPr>
          <p:spPr bwMode="auto">
            <a:xfrm>
              <a:off x="7760033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" name="AutoShape 32"/>
            <p:cNvCxnSpPr>
              <a:cxnSpLocks noChangeShapeType="1"/>
              <a:stCxn id="41" idx="4"/>
              <a:endCxn id="41" idx="6"/>
            </p:cNvCxnSpPr>
            <p:nvPr/>
          </p:nvCxnSpPr>
          <p:spPr bwMode="auto">
            <a:xfrm>
              <a:off x="7760033" y="493888"/>
              <a:ext cx="98074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4" name="LegendMoons" hidden="1"/>
          <p:cNvGrpSpPr/>
          <p:nvPr/>
        </p:nvGrpSpPr>
        <p:grpSpPr bwMode="auto">
          <a:xfrm>
            <a:off x="7950987" y="264798"/>
            <a:ext cx="854596" cy="1333054"/>
            <a:chOff x="7875175" y="286625"/>
            <a:chExt cx="837534" cy="1306516"/>
          </a:xfrm>
        </p:grpSpPr>
        <p:grpSp>
          <p:nvGrpSpPr>
            <p:cNvPr id="45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grpSp>
          <p:nvGrpSpPr>
            <p:cNvPr id="46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grpSp>
          <p:nvGrpSpPr>
            <p:cNvPr id="47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grpSp>
          <p:nvGrpSpPr>
            <p:cNvPr id="53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grpSp>
          <p:nvGrpSpPr>
            <p:cNvPr id="54" name="MoonLegend1"/>
            <p:cNvGrpSpPr>
              <a:grpSpLocks noChangeAspect="1"/>
            </p:cNvGrpSpPr>
            <p:nvPr userDrawn="1">
              <p:custDataLst>
                <p:tags r:id="rId15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55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56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</p:grpSp>
      <p:grpSp>
        <p:nvGrpSpPr>
          <p:cNvPr id="65" name="McK Moon" hidden="1"/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auto">
          <a:xfrm>
            <a:off x="8546409" y="1793437"/>
            <a:ext cx="259174" cy="259159"/>
            <a:chOff x="1600" y="1600"/>
            <a:chExt cx="160" cy="160"/>
          </a:xfrm>
        </p:grpSpPr>
        <p:sp>
          <p:nvSpPr>
            <p:cNvPr id="66" name="Oval 90"/>
            <p:cNvSpPr>
              <a:spLocks noChangeAspect="1"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  <a:latin typeface="Arial" charset="0"/>
              </a:endParaRPr>
            </a:p>
          </p:txBody>
        </p:sp>
        <p:sp>
          <p:nvSpPr>
            <p:cNvPr id="67" name="Arc 91"/>
            <p:cNvSpPr>
              <a:spLocks noChangeAspect="1"/>
            </p:cNvSpPr>
            <p:nvPr>
              <p:custDataLst>
                <p:tags r:id="rId10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  <a:latin typeface="Arial" charset="0"/>
              </a:endParaRPr>
            </a:p>
          </p:txBody>
        </p:sp>
      </p:grpSp>
      <p:pic>
        <p:nvPicPr>
          <p:cNvPr id="69" name="Picture 68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6809" y="6087040"/>
            <a:ext cx="752475" cy="752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9429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2pPr>
      <a:lvl3pPr marL="393700" indent="-19526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00" baseline="0">
          <a:solidFill>
            <a:schemeClr val="tx1"/>
          </a:solidFill>
          <a:latin typeface="+mn-lt"/>
        </a:defRPr>
      </a:lvl3pPr>
      <a:lvl4pPr marL="625475" indent="-22225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Open Sans" pitchFamily="34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JM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701805"/>
            <a:ext cx="8229600" cy="41655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JM" dirty="0"/>
          </a:p>
        </p:txBody>
      </p:sp>
      <p:sp>
        <p:nvSpPr>
          <p:cNvPr id="17" name="Slide Number Placeholder 3"/>
          <p:cNvSpPr txBox="1">
            <a:spLocks/>
          </p:cNvSpPr>
          <p:nvPr/>
        </p:nvSpPr>
        <p:spPr>
          <a:xfrm rot="16200000">
            <a:off x="8267700" y="6210300"/>
            <a:ext cx="381000" cy="457200"/>
          </a:xfrm>
          <a:prstGeom prst="rect">
            <a:avLst/>
          </a:prstGeom>
          <a:noFill/>
        </p:spPr>
        <p:txBody>
          <a:bodyPr vert="vert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4B4D3B3-1937-AB48-AF5F-DF2988F16F28}" type="slidenum">
              <a:rPr lang="en-US" sz="1200" smtClean="0">
                <a:solidFill>
                  <a:srgbClr val="666666"/>
                </a:solidFill>
              </a:rPr>
              <a:pPr/>
              <a:t>‹#›</a:t>
            </a:fld>
            <a:endParaRPr lang="en-US" sz="1200" dirty="0">
              <a:solidFill>
                <a:srgbClr val="666666"/>
              </a:solidFill>
              <a:latin typeface="Open Sans"/>
              <a:cs typeface="Open Sans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324" y="5943600"/>
            <a:ext cx="752475" cy="752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2196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6" r:id="rId1"/>
    <p:sldLayoutId id="2147483897" r:id="rId2"/>
    <p:sldLayoutId id="2147483898" r:id="rId3"/>
    <p:sldLayoutId id="2147483899" r:id="rId4"/>
    <p:sldLayoutId id="2147483900" r:id="rId5"/>
    <p:sldLayoutId id="2147483901" r:id="rId6"/>
    <p:sldLayoutId id="2147483902" r:id="rId7"/>
    <p:sldLayoutId id="2147483903" r:id="rId8"/>
    <p:sldLayoutId id="2147483904" r:id="rId9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b="1" i="0" kern="1200">
          <a:solidFill>
            <a:schemeClr val="tx2"/>
          </a:solidFill>
          <a:latin typeface="PermianSlabSerifTypeface"/>
          <a:ea typeface="Open Sans Light" panose="020B0306030504020204" pitchFamily="34" charset="0"/>
          <a:cs typeface="PermianSlabSerifTypeface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E71B1B"/>
        </a:buClr>
        <a:buFont typeface="Arial" panose="020B0604020202020204" pitchFamily="34" charset="0"/>
        <a:buChar char="•"/>
        <a:defRPr sz="1800" kern="1200">
          <a:solidFill>
            <a:srgbClr val="7E7E82"/>
          </a:solidFill>
          <a:latin typeface="Open Sans"/>
          <a:ea typeface="+mn-ea"/>
          <a:cs typeface="Open San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E71B1B"/>
        </a:buClr>
        <a:buFont typeface="Calibri" panose="020F0502020204030204" pitchFamily="34" charset="0"/>
        <a:buChar char="▫"/>
        <a:defRPr sz="1600" kern="1200">
          <a:solidFill>
            <a:srgbClr val="7E7E82"/>
          </a:solidFill>
          <a:latin typeface="Open Sans"/>
          <a:ea typeface="+mn-ea"/>
          <a:cs typeface="Open San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E71B1B"/>
        </a:buClr>
        <a:buFont typeface="Calibri" panose="020F0502020204030204" pitchFamily="34" charset="0"/>
        <a:buChar char="–"/>
        <a:defRPr sz="1400" kern="1200">
          <a:solidFill>
            <a:srgbClr val="7E7E82"/>
          </a:solidFill>
          <a:latin typeface="Open Sans"/>
          <a:ea typeface="+mn-ea"/>
          <a:cs typeface="Open San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E71B1B"/>
        </a:buClr>
        <a:buFont typeface="Wingdings" panose="05000000000000000000" pitchFamily="2" charset="2"/>
        <a:buChar char="§"/>
        <a:defRPr sz="1200" kern="1200">
          <a:solidFill>
            <a:srgbClr val="7E7E82"/>
          </a:solidFill>
          <a:latin typeface="Open Sans"/>
          <a:ea typeface="+mn-ea"/>
          <a:cs typeface="Open San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E71B1B"/>
        </a:buClr>
        <a:buFont typeface="Arial" pitchFamily="34" charset="0"/>
        <a:buChar char="»"/>
        <a:defRPr sz="1200" kern="1200">
          <a:solidFill>
            <a:srgbClr val="7E7E82"/>
          </a:solidFill>
          <a:latin typeface="Open Sans"/>
          <a:ea typeface="+mn-ea"/>
          <a:cs typeface="Open San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548321043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2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429" name="Picture 141"/>
          <p:cNvPicPr>
            <a:picLocks noChangeAspect="1" noChangeArrowheads="1"/>
          </p:cNvPicPr>
          <p:nvPr userDrawn="1"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438" y="6122636"/>
            <a:ext cx="771044" cy="770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Slide Number"/>
          <p:cNvSpPr txBox="1">
            <a:spLocks/>
          </p:cNvSpPr>
          <p:nvPr userDrawn="1"/>
        </p:nvSpPr>
        <p:spPr>
          <a:xfrm>
            <a:off x="8808763" y="6594083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4945" y="226385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4" y="8099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4945" y="523179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777525" y="6380183"/>
            <a:ext cx="8191533" cy="370922"/>
            <a:chOff x="75" y="3903"/>
            <a:chExt cx="5385" cy="229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03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36"/>
              <a:ext cx="5086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392981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4" name="LegendBoxes" hidden="1"/>
          <p:cNvGrpSpPr>
            <a:grpSpLocks/>
          </p:cNvGrpSpPr>
          <p:nvPr userDrawn="1"/>
        </p:nvGrpSpPr>
        <p:grpSpPr bwMode="auto">
          <a:xfrm>
            <a:off x="8189913" y="282729"/>
            <a:ext cx="779144" cy="1017201"/>
            <a:chOff x="4936" y="176"/>
            <a:chExt cx="481" cy="628"/>
          </a:xfrm>
        </p:grpSpPr>
        <p:sp>
          <p:nvSpPr>
            <p:cNvPr id="2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 userDrawn="1"/>
        </p:nvGrpSpPr>
        <p:grpSpPr bwMode="auto">
          <a:xfrm>
            <a:off x="7875665" y="282729"/>
            <a:ext cx="1093393" cy="745084"/>
            <a:chOff x="4750" y="176"/>
            <a:chExt cx="675" cy="460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0" name="McKSticker" hidden="1"/>
          <p:cNvGrpSpPr/>
          <p:nvPr userDrawn="1"/>
        </p:nvGrpSpPr>
        <p:grpSpPr bwMode="auto">
          <a:xfrm>
            <a:off x="7880428" y="282728"/>
            <a:ext cx="1088630" cy="216680"/>
            <a:chOff x="7673880" y="285750"/>
            <a:chExt cx="1066895" cy="212366"/>
          </a:xfrm>
        </p:grpSpPr>
        <p:sp>
          <p:nvSpPr>
            <p:cNvPr id="41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2" name="AutoShape 31"/>
            <p:cNvCxnSpPr>
              <a:cxnSpLocks noChangeShapeType="1"/>
              <a:stCxn id="41" idx="2"/>
              <a:endCxn id="41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" name="AutoShape 32"/>
            <p:cNvCxnSpPr>
              <a:cxnSpLocks noChangeShapeType="1"/>
              <a:stCxn id="41" idx="4"/>
              <a:endCxn id="41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4" name="LegendMoons" hidden="1"/>
          <p:cNvGrpSpPr/>
          <p:nvPr userDrawn="1"/>
        </p:nvGrpSpPr>
        <p:grpSpPr>
          <a:xfrm>
            <a:off x="8121710" y="282728"/>
            <a:ext cx="847347" cy="1333054"/>
            <a:chOff x="7875175" y="286625"/>
            <a:chExt cx="830430" cy="1306516"/>
          </a:xfrm>
        </p:grpSpPr>
        <p:grpSp>
          <p:nvGrpSpPr>
            <p:cNvPr id="45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3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4" name="MoonLegend1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55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Arc 42" hidden="1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65" name="McK Moon" hidden="1"/>
          <p:cNvGrpSpPr>
            <a:grpSpLocks noChangeAspect="1"/>
          </p:cNvGrpSpPr>
          <p:nvPr userDrawn="1">
            <p:custDataLst>
              <p:tags r:id="rId6"/>
            </p:custDataLst>
          </p:nvPr>
        </p:nvGrpSpPr>
        <p:grpSpPr bwMode="auto">
          <a:xfrm>
            <a:off x="2139810" y="3965136"/>
            <a:ext cx="259174" cy="259159"/>
            <a:chOff x="1600" y="1600"/>
            <a:chExt cx="160" cy="160"/>
          </a:xfrm>
        </p:grpSpPr>
        <p:sp>
          <p:nvSpPr>
            <p:cNvPr id="66" name="Oval 90"/>
            <p:cNvSpPr>
              <a:spLocks noChangeAspect="1"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7" name="Arc 91"/>
            <p:cNvSpPr>
              <a:spLocks noChangeAspect="1"/>
            </p:cNvSpPr>
            <p:nvPr>
              <p:custDataLst>
                <p:tags r:id="rId8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047870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0480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JM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701805"/>
            <a:ext cx="8229600" cy="41655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JM" dirty="0"/>
          </a:p>
        </p:txBody>
      </p:sp>
      <p:sp>
        <p:nvSpPr>
          <p:cNvPr id="17" name="Slide Number Placeholder 3"/>
          <p:cNvSpPr txBox="1">
            <a:spLocks/>
          </p:cNvSpPr>
          <p:nvPr/>
        </p:nvSpPr>
        <p:spPr>
          <a:xfrm rot="16200000">
            <a:off x="8267700" y="6210300"/>
            <a:ext cx="381000" cy="457200"/>
          </a:xfrm>
          <a:prstGeom prst="rect">
            <a:avLst/>
          </a:prstGeom>
          <a:noFill/>
        </p:spPr>
        <p:txBody>
          <a:bodyPr vert="vert" anchor="ctr" anchorCtr="1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4B4D3B3-1937-AB48-AF5F-DF2988F16F28}" type="slidenum">
              <a:rPr lang="en-US" sz="1200" smtClean="0">
                <a:solidFill>
                  <a:srgbClr val="666666"/>
                </a:solidFill>
              </a:rPr>
              <a:pPr/>
              <a:t>‹#›</a:t>
            </a:fld>
            <a:endParaRPr lang="en-US" sz="1200" dirty="0">
              <a:solidFill>
                <a:srgbClr val="666666"/>
              </a:solidFill>
              <a:latin typeface="Open Sans"/>
              <a:cs typeface="Open Sans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324" y="5943600"/>
            <a:ext cx="752475" cy="752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80363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855" r:id="rId5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b="1" i="0" kern="1200">
          <a:solidFill>
            <a:schemeClr val="tx2"/>
          </a:solidFill>
          <a:latin typeface="PermianSlabSerifTypeface"/>
          <a:ea typeface="Open Sans Light" panose="020B0306030504020204" pitchFamily="34" charset="0"/>
          <a:cs typeface="PermianSlabSerifTypeface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E71B1B"/>
        </a:buClr>
        <a:buFont typeface="Arial" panose="020B0604020202020204" pitchFamily="34" charset="0"/>
        <a:buChar char="•"/>
        <a:defRPr sz="1800" kern="1200">
          <a:solidFill>
            <a:srgbClr val="7E7E82"/>
          </a:solidFill>
          <a:latin typeface="Open Sans"/>
          <a:ea typeface="+mn-ea"/>
          <a:cs typeface="Open San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E71B1B"/>
        </a:buClr>
        <a:buFont typeface="Calibri" panose="020F0502020204030204" pitchFamily="34" charset="0"/>
        <a:buChar char="▫"/>
        <a:defRPr sz="1600" kern="1200">
          <a:solidFill>
            <a:srgbClr val="7E7E82"/>
          </a:solidFill>
          <a:latin typeface="Open Sans"/>
          <a:ea typeface="+mn-ea"/>
          <a:cs typeface="Open San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E71B1B"/>
        </a:buClr>
        <a:buFont typeface="Calibri" panose="020F0502020204030204" pitchFamily="34" charset="0"/>
        <a:buChar char="–"/>
        <a:defRPr sz="1400" kern="1200">
          <a:solidFill>
            <a:srgbClr val="7E7E82"/>
          </a:solidFill>
          <a:latin typeface="Open Sans"/>
          <a:ea typeface="+mn-ea"/>
          <a:cs typeface="Open San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E71B1B"/>
        </a:buClr>
        <a:buFont typeface="Wingdings" panose="05000000000000000000" pitchFamily="2" charset="2"/>
        <a:buChar char="§"/>
        <a:defRPr sz="1200" kern="1200">
          <a:solidFill>
            <a:srgbClr val="7E7E82"/>
          </a:solidFill>
          <a:latin typeface="Open Sans"/>
          <a:ea typeface="+mn-ea"/>
          <a:cs typeface="Open San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E71B1B"/>
        </a:buClr>
        <a:buFont typeface="Arial" pitchFamily="34" charset="0"/>
        <a:buChar char="»"/>
        <a:defRPr sz="1200" kern="1200">
          <a:solidFill>
            <a:srgbClr val="7E7E82"/>
          </a:solidFill>
          <a:latin typeface="Open Sans"/>
          <a:ea typeface="+mn-ea"/>
          <a:cs typeface="Open San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705618673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9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Slide Number"/>
          <p:cNvSpPr txBox="1">
            <a:spLocks/>
          </p:cNvSpPr>
          <p:nvPr/>
        </p:nvSpPr>
        <p:spPr bwMode="auto">
          <a:xfrm>
            <a:off x="8645289" y="6594083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7E7E82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7E7E82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38418" y="228736"/>
            <a:ext cx="846716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338418" y="8099"/>
            <a:ext cx="75463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338418" y="541311"/>
            <a:ext cx="846716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Open Sans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888574" y="6381795"/>
            <a:ext cx="7916327" cy="369302"/>
            <a:chOff x="75" y="3904"/>
            <a:chExt cx="5601" cy="22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04"/>
              <a:ext cx="5601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7E7E82"/>
                  </a:solidFill>
                  <a:latin typeface="Open Sans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37"/>
              <a:ext cx="5086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552450" indent="-552450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n-US" sz="1000" dirty="0">
                  <a:solidFill>
                    <a:srgbClr val="7E7E82"/>
                  </a:solidFill>
                </a:rPr>
                <a:t>SOURCE: </a:t>
              </a:r>
              <a:r>
                <a:rPr lang="en-US" sz="1000" dirty="0" smtClean="0">
                  <a:solidFill>
                    <a:srgbClr val="7E7E82"/>
                  </a:solidFill>
                </a:rPr>
                <a:t>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392981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7E7E82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4" name="LegendBoxes" hidden="1"/>
          <p:cNvGrpSpPr>
            <a:grpSpLocks/>
          </p:cNvGrpSpPr>
          <p:nvPr/>
        </p:nvGrpSpPr>
        <p:grpSpPr bwMode="auto">
          <a:xfrm>
            <a:off x="8018340" y="264799"/>
            <a:ext cx="787243" cy="1013962"/>
            <a:chOff x="4936" y="176"/>
            <a:chExt cx="486" cy="626"/>
          </a:xfrm>
        </p:grpSpPr>
        <p:sp>
          <p:nvSpPr>
            <p:cNvPr id="2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/>
        </p:nvGrpSpPr>
        <p:grpSpPr bwMode="auto">
          <a:xfrm>
            <a:off x="7704091" y="264799"/>
            <a:ext cx="1101492" cy="741845"/>
            <a:chOff x="4750" y="176"/>
            <a:chExt cx="680" cy="458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</p:grpSp>
      <p:grpSp>
        <p:nvGrpSpPr>
          <p:cNvPr id="40" name="McKSticker" hidden="1"/>
          <p:cNvGrpSpPr/>
          <p:nvPr/>
        </p:nvGrpSpPr>
        <p:grpSpPr bwMode="auto">
          <a:xfrm>
            <a:off x="7804861" y="264798"/>
            <a:ext cx="1000722" cy="212366"/>
            <a:chOff x="7760033" y="285750"/>
            <a:chExt cx="980742" cy="208138"/>
          </a:xfrm>
        </p:grpSpPr>
        <p:sp>
          <p:nvSpPr>
            <p:cNvPr id="41" name="StickerRectangle"/>
            <p:cNvSpPr>
              <a:spLocks noChangeArrowheads="1"/>
            </p:cNvSpPr>
            <p:nvPr/>
          </p:nvSpPr>
          <p:spPr bwMode="auto">
            <a:xfrm>
              <a:off x="7760033" y="285750"/>
              <a:ext cx="980742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2" name="AutoShape 31"/>
            <p:cNvCxnSpPr>
              <a:cxnSpLocks noChangeShapeType="1"/>
              <a:stCxn id="41" idx="2"/>
              <a:endCxn id="41" idx="4"/>
            </p:cNvCxnSpPr>
            <p:nvPr/>
          </p:nvCxnSpPr>
          <p:spPr bwMode="auto">
            <a:xfrm>
              <a:off x="7760033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" name="AutoShape 32"/>
            <p:cNvCxnSpPr>
              <a:cxnSpLocks noChangeShapeType="1"/>
              <a:stCxn id="41" idx="4"/>
              <a:endCxn id="41" idx="6"/>
            </p:cNvCxnSpPr>
            <p:nvPr/>
          </p:nvCxnSpPr>
          <p:spPr bwMode="auto">
            <a:xfrm>
              <a:off x="7760033" y="493888"/>
              <a:ext cx="98074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4" name="LegendMoons" hidden="1"/>
          <p:cNvGrpSpPr/>
          <p:nvPr/>
        </p:nvGrpSpPr>
        <p:grpSpPr bwMode="auto">
          <a:xfrm>
            <a:off x="7950987" y="264798"/>
            <a:ext cx="854596" cy="1333054"/>
            <a:chOff x="7875175" y="286625"/>
            <a:chExt cx="837534" cy="1306516"/>
          </a:xfrm>
        </p:grpSpPr>
        <p:grpSp>
          <p:nvGrpSpPr>
            <p:cNvPr id="45" name="MoonLegend2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grpSp>
          <p:nvGrpSpPr>
            <p:cNvPr id="46" name="MoonLegend4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grpSp>
          <p:nvGrpSpPr>
            <p:cNvPr id="47" name="MoonLegend5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grpSp>
          <p:nvGrpSpPr>
            <p:cNvPr id="53" name="MoonLegend3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grpSp>
          <p:nvGrpSpPr>
            <p:cNvPr id="54" name="MoonLegend1"/>
            <p:cNvGrpSpPr>
              <a:grpSpLocks noChangeAspect="1"/>
            </p:cNvGrpSpPr>
            <p:nvPr userDrawn="1">
              <p:custDataLst>
                <p:tags r:id="rId18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55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56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</p:grpSp>
      <p:grpSp>
        <p:nvGrpSpPr>
          <p:cNvPr id="65" name="McK Moon" hidden="1"/>
          <p:cNvGrpSpPr>
            <a:grpSpLocks noChangeAspect="1"/>
          </p:cNvGrpSpPr>
          <p:nvPr>
            <p:custDataLst>
              <p:tags r:id="rId11"/>
            </p:custDataLst>
          </p:nvPr>
        </p:nvGrpSpPr>
        <p:grpSpPr bwMode="auto">
          <a:xfrm>
            <a:off x="8546409" y="1793437"/>
            <a:ext cx="259174" cy="259159"/>
            <a:chOff x="1600" y="1600"/>
            <a:chExt cx="160" cy="160"/>
          </a:xfrm>
        </p:grpSpPr>
        <p:sp>
          <p:nvSpPr>
            <p:cNvPr id="66" name="Oval 90"/>
            <p:cNvSpPr>
              <a:spLocks noChangeAspect="1"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  <a:latin typeface="Arial" charset="0"/>
              </a:endParaRPr>
            </a:p>
          </p:txBody>
        </p:sp>
        <p:sp>
          <p:nvSpPr>
            <p:cNvPr id="67" name="Arc 91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  <a:latin typeface="Arial" charset="0"/>
              </a:endParaRPr>
            </a:p>
          </p:txBody>
        </p:sp>
      </p:grpSp>
      <p:pic>
        <p:nvPicPr>
          <p:cNvPr id="69" name="Picture 68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6809" y="6087040"/>
            <a:ext cx="752475" cy="752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071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2pPr>
      <a:lvl3pPr marL="393700" indent="-19526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00" baseline="0">
          <a:solidFill>
            <a:schemeClr val="tx1"/>
          </a:solidFill>
          <a:latin typeface="+mn-lt"/>
        </a:defRPr>
      </a:lvl3pPr>
      <a:lvl4pPr marL="625475" indent="-22225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Open Sans" pitchFamily="34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469540035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429" name="Picture 141"/>
          <p:cNvPicPr>
            <a:picLocks noChangeAspect="1" noChangeArrowheads="1"/>
          </p:cNvPicPr>
          <p:nvPr userDrawn="1"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438" y="6122636"/>
            <a:ext cx="771044" cy="770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Slide Number"/>
          <p:cNvSpPr txBox="1">
            <a:spLocks/>
          </p:cNvSpPr>
          <p:nvPr userDrawn="1"/>
        </p:nvSpPr>
        <p:spPr>
          <a:xfrm>
            <a:off x="8808763" y="6594083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4945" y="226385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4" y="8099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4945" y="523179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777525" y="6380183"/>
            <a:ext cx="8191533" cy="370922"/>
            <a:chOff x="75" y="3903"/>
            <a:chExt cx="5385" cy="229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03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36"/>
              <a:ext cx="5086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392981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4" name="LegendBoxes" hidden="1"/>
          <p:cNvGrpSpPr>
            <a:grpSpLocks/>
          </p:cNvGrpSpPr>
          <p:nvPr userDrawn="1"/>
        </p:nvGrpSpPr>
        <p:grpSpPr bwMode="auto">
          <a:xfrm>
            <a:off x="8189913" y="282729"/>
            <a:ext cx="779144" cy="1017201"/>
            <a:chOff x="4936" y="176"/>
            <a:chExt cx="481" cy="628"/>
          </a:xfrm>
        </p:grpSpPr>
        <p:sp>
          <p:nvSpPr>
            <p:cNvPr id="2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 userDrawn="1"/>
        </p:nvGrpSpPr>
        <p:grpSpPr bwMode="auto">
          <a:xfrm>
            <a:off x="7875665" y="282729"/>
            <a:ext cx="1093393" cy="745084"/>
            <a:chOff x="4750" y="176"/>
            <a:chExt cx="675" cy="460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0" name="McKSticker" hidden="1"/>
          <p:cNvGrpSpPr/>
          <p:nvPr userDrawn="1"/>
        </p:nvGrpSpPr>
        <p:grpSpPr bwMode="auto">
          <a:xfrm>
            <a:off x="7880428" y="282728"/>
            <a:ext cx="1088630" cy="216680"/>
            <a:chOff x="7673880" y="285750"/>
            <a:chExt cx="1066895" cy="212366"/>
          </a:xfrm>
        </p:grpSpPr>
        <p:sp>
          <p:nvSpPr>
            <p:cNvPr id="41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2" name="AutoShape 31"/>
            <p:cNvCxnSpPr>
              <a:cxnSpLocks noChangeShapeType="1"/>
              <a:stCxn id="41" idx="2"/>
              <a:endCxn id="41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" name="AutoShape 32"/>
            <p:cNvCxnSpPr>
              <a:cxnSpLocks noChangeShapeType="1"/>
              <a:stCxn id="41" idx="4"/>
              <a:endCxn id="41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4" name="LegendMoons" hidden="1"/>
          <p:cNvGrpSpPr/>
          <p:nvPr userDrawn="1"/>
        </p:nvGrpSpPr>
        <p:grpSpPr>
          <a:xfrm>
            <a:off x="8121710" y="282728"/>
            <a:ext cx="847347" cy="1333054"/>
            <a:chOff x="7875175" y="286625"/>
            <a:chExt cx="830430" cy="1306516"/>
          </a:xfrm>
        </p:grpSpPr>
        <p:grpSp>
          <p:nvGrpSpPr>
            <p:cNvPr id="45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3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4" name="MoonLegend1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55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Arc 42" hidden="1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65" name="McK Moon" hidden="1"/>
          <p:cNvGrpSpPr>
            <a:grpSpLocks noChangeAspect="1"/>
          </p:cNvGrpSpPr>
          <p:nvPr userDrawn="1">
            <p:custDataLst>
              <p:tags r:id="rId6"/>
            </p:custDataLst>
          </p:nvPr>
        </p:nvGrpSpPr>
        <p:grpSpPr bwMode="auto">
          <a:xfrm>
            <a:off x="2139810" y="3965136"/>
            <a:ext cx="259174" cy="259159"/>
            <a:chOff x="1600" y="1600"/>
            <a:chExt cx="160" cy="160"/>
          </a:xfrm>
        </p:grpSpPr>
        <p:sp>
          <p:nvSpPr>
            <p:cNvPr id="66" name="Oval 90"/>
            <p:cNvSpPr>
              <a:spLocks noChangeAspect="1"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7" name="Arc 91"/>
            <p:cNvSpPr>
              <a:spLocks noChangeAspect="1"/>
            </p:cNvSpPr>
            <p:nvPr>
              <p:custDataLst>
                <p:tags r:id="rId8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955075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311926122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15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Slide Number"/>
          <p:cNvSpPr txBox="1">
            <a:spLocks/>
          </p:cNvSpPr>
          <p:nvPr/>
        </p:nvSpPr>
        <p:spPr bwMode="auto">
          <a:xfrm>
            <a:off x="8645289" y="6594083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7E7E82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7E7E82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38418" y="228736"/>
            <a:ext cx="846716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338418" y="8099"/>
            <a:ext cx="75463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338418" y="541311"/>
            <a:ext cx="846716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Open Sans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888574" y="6381795"/>
            <a:ext cx="7916327" cy="369302"/>
            <a:chOff x="75" y="3904"/>
            <a:chExt cx="5601" cy="22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04"/>
              <a:ext cx="5601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7E7E82"/>
                  </a:solidFill>
                  <a:latin typeface="Open Sans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37"/>
              <a:ext cx="5086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552450" indent="-552450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n-US" sz="1000" dirty="0">
                  <a:solidFill>
                    <a:srgbClr val="7E7E82"/>
                  </a:solidFill>
                </a:rPr>
                <a:t>SOURCE: </a:t>
              </a:r>
              <a:r>
                <a:rPr lang="en-US" sz="1000" dirty="0" smtClean="0">
                  <a:solidFill>
                    <a:srgbClr val="7E7E82"/>
                  </a:solidFill>
                </a:rPr>
                <a:t>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392981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7E7E82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4" name="LegendBoxes" hidden="1"/>
          <p:cNvGrpSpPr>
            <a:grpSpLocks/>
          </p:cNvGrpSpPr>
          <p:nvPr/>
        </p:nvGrpSpPr>
        <p:grpSpPr bwMode="auto">
          <a:xfrm>
            <a:off x="8018340" y="264799"/>
            <a:ext cx="787243" cy="1013962"/>
            <a:chOff x="4936" y="176"/>
            <a:chExt cx="486" cy="626"/>
          </a:xfrm>
        </p:grpSpPr>
        <p:sp>
          <p:nvSpPr>
            <p:cNvPr id="2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/>
        </p:nvGrpSpPr>
        <p:grpSpPr bwMode="auto">
          <a:xfrm>
            <a:off x="7704091" y="264799"/>
            <a:ext cx="1101492" cy="741845"/>
            <a:chOff x="4750" y="176"/>
            <a:chExt cx="680" cy="458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</p:grpSp>
      <p:grpSp>
        <p:nvGrpSpPr>
          <p:cNvPr id="40" name="McKSticker" hidden="1"/>
          <p:cNvGrpSpPr/>
          <p:nvPr/>
        </p:nvGrpSpPr>
        <p:grpSpPr bwMode="auto">
          <a:xfrm>
            <a:off x="7804861" y="264798"/>
            <a:ext cx="1000722" cy="212366"/>
            <a:chOff x="7760033" y="285750"/>
            <a:chExt cx="980742" cy="208138"/>
          </a:xfrm>
        </p:grpSpPr>
        <p:sp>
          <p:nvSpPr>
            <p:cNvPr id="41" name="StickerRectangle"/>
            <p:cNvSpPr>
              <a:spLocks noChangeArrowheads="1"/>
            </p:cNvSpPr>
            <p:nvPr/>
          </p:nvSpPr>
          <p:spPr bwMode="auto">
            <a:xfrm>
              <a:off x="7760033" y="285750"/>
              <a:ext cx="980742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2" name="AutoShape 31"/>
            <p:cNvCxnSpPr>
              <a:cxnSpLocks noChangeShapeType="1"/>
              <a:stCxn id="41" idx="2"/>
              <a:endCxn id="41" idx="4"/>
            </p:cNvCxnSpPr>
            <p:nvPr/>
          </p:nvCxnSpPr>
          <p:spPr bwMode="auto">
            <a:xfrm>
              <a:off x="7760033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" name="AutoShape 32"/>
            <p:cNvCxnSpPr>
              <a:cxnSpLocks noChangeShapeType="1"/>
              <a:stCxn id="41" idx="4"/>
              <a:endCxn id="41" idx="6"/>
            </p:cNvCxnSpPr>
            <p:nvPr/>
          </p:nvCxnSpPr>
          <p:spPr bwMode="auto">
            <a:xfrm>
              <a:off x="7760033" y="493888"/>
              <a:ext cx="98074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4" name="LegendMoons" hidden="1"/>
          <p:cNvGrpSpPr/>
          <p:nvPr/>
        </p:nvGrpSpPr>
        <p:grpSpPr bwMode="auto">
          <a:xfrm>
            <a:off x="7950987" y="264798"/>
            <a:ext cx="854596" cy="1333054"/>
            <a:chOff x="7875175" y="286625"/>
            <a:chExt cx="837534" cy="1306516"/>
          </a:xfrm>
        </p:grpSpPr>
        <p:grpSp>
          <p:nvGrpSpPr>
            <p:cNvPr id="45" name="MoonLegend2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grpSp>
          <p:nvGrpSpPr>
            <p:cNvPr id="46" name="MoonLegend4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grpSp>
          <p:nvGrpSpPr>
            <p:cNvPr id="47" name="MoonLegend5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grpSp>
          <p:nvGrpSpPr>
            <p:cNvPr id="53" name="MoonLegend3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grpSp>
          <p:nvGrpSpPr>
            <p:cNvPr id="54" name="MoonLegend1"/>
            <p:cNvGrpSpPr>
              <a:grpSpLocks noChangeAspect="1"/>
            </p:cNvGrpSpPr>
            <p:nvPr userDrawn="1">
              <p:custDataLst>
                <p:tags r:id="rId18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55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56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</p:grpSp>
      <p:grpSp>
        <p:nvGrpSpPr>
          <p:cNvPr id="65" name="McK Moon" hidden="1"/>
          <p:cNvGrpSpPr>
            <a:grpSpLocks noChangeAspect="1"/>
          </p:cNvGrpSpPr>
          <p:nvPr>
            <p:custDataLst>
              <p:tags r:id="rId11"/>
            </p:custDataLst>
          </p:nvPr>
        </p:nvGrpSpPr>
        <p:grpSpPr bwMode="auto">
          <a:xfrm>
            <a:off x="8546409" y="1793437"/>
            <a:ext cx="259174" cy="259159"/>
            <a:chOff x="1600" y="1600"/>
            <a:chExt cx="160" cy="160"/>
          </a:xfrm>
        </p:grpSpPr>
        <p:sp>
          <p:nvSpPr>
            <p:cNvPr id="66" name="Oval 90"/>
            <p:cNvSpPr>
              <a:spLocks noChangeAspect="1"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  <a:latin typeface="Arial" charset="0"/>
              </a:endParaRPr>
            </a:p>
          </p:txBody>
        </p:sp>
        <p:sp>
          <p:nvSpPr>
            <p:cNvPr id="67" name="Arc 91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  <a:latin typeface="Arial" charset="0"/>
              </a:endParaRPr>
            </a:p>
          </p:txBody>
        </p:sp>
      </p:grpSp>
      <p:pic>
        <p:nvPicPr>
          <p:cNvPr id="69" name="Picture 68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6809" y="6087040"/>
            <a:ext cx="752475" cy="752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38976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2pPr>
      <a:lvl3pPr marL="393700" indent="-19526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00" baseline="0">
          <a:solidFill>
            <a:schemeClr val="tx1"/>
          </a:solidFill>
          <a:latin typeface="+mn-lt"/>
        </a:defRPr>
      </a:lvl3pPr>
      <a:lvl4pPr marL="625475" indent="-22225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Open Sans" pitchFamily="34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381670008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55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Slide Number"/>
          <p:cNvSpPr txBox="1">
            <a:spLocks/>
          </p:cNvSpPr>
          <p:nvPr/>
        </p:nvSpPr>
        <p:spPr bwMode="auto">
          <a:xfrm>
            <a:off x="8645289" y="6594083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7E7E82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7E7E82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38418" y="228736"/>
            <a:ext cx="846716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338418" y="8099"/>
            <a:ext cx="75463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338418" y="541311"/>
            <a:ext cx="846716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Open Sans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888574" y="6381795"/>
            <a:ext cx="7916327" cy="369302"/>
            <a:chOff x="75" y="3904"/>
            <a:chExt cx="5601" cy="22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04"/>
              <a:ext cx="5601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7E7E82"/>
                  </a:solidFill>
                  <a:latin typeface="Open Sans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37"/>
              <a:ext cx="5086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552450" indent="-552450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n-US" sz="1000" dirty="0">
                  <a:solidFill>
                    <a:srgbClr val="7E7E82"/>
                  </a:solidFill>
                </a:rPr>
                <a:t>SOURCE: </a:t>
              </a:r>
              <a:r>
                <a:rPr lang="en-US" sz="1000" dirty="0" smtClean="0">
                  <a:solidFill>
                    <a:srgbClr val="7E7E82"/>
                  </a:solidFill>
                </a:rPr>
                <a:t>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392981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7E7E82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4" name="LegendBoxes" hidden="1"/>
          <p:cNvGrpSpPr>
            <a:grpSpLocks/>
          </p:cNvGrpSpPr>
          <p:nvPr/>
        </p:nvGrpSpPr>
        <p:grpSpPr bwMode="auto">
          <a:xfrm>
            <a:off x="8018340" y="264799"/>
            <a:ext cx="787243" cy="1013962"/>
            <a:chOff x="4936" y="176"/>
            <a:chExt cx="486" cy="626"/>
          </a:xfrm>
        </p:grpSpPr>
        <p:sp>
          <p:nvSpPr>
            <p:cNvPr id="2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/>
        </p:nvGrpSpPr>
        <p:grpSpPr bwMode="auto">
          <a:xfrm>
            <a:off x="7704091" y="264799"/>
            <a:ext cx="1101492" cy="741845"/>
            <a:chOff x="4750" y="176"/>
            <a:chExt cx="680" cy="458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</p:grpSp>
      <p:grpSp>
        <p:nvGrpSpPr>
          <p:cNvPr id="40" name="McKSticker" hidden="1"/>
          <p:cNvGrpSpPr/>
          <p:nvPr/>
        </p:nvGrpSpPr>
        <p:grpSpPr bwMode="auto">
          <a:xfrm>
            <a:off x="7804861" y="264798"/>
            <a:ext cx="1000722" cy="212366"/>
            <a:chOff x="7760033" y="285750"/>
            <a:chExt cx="980742" cy="208138"/>
          </a:xfrm>
        </p:grpSpPr>
        <p:sp>
          <p:nvSpPr>
            <p:cNvPr id="41" name="StickerRectangle"/>
            <p:cNvSpPr>
              <a:spLocks noChangeArrowheads="1"/>
            </p:cNvSpPr>
            <p:nvPr/>
          </p:nvSpPr>
          <p:spPr bwMode="auto">
            <a:xfrm>
              <a:off x="7760033" y="285750"/>
              <a:ext cx="980742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2" name="AutoShape 31"/>
            <p:cNvCxnSpPr>
              <a:cxnSpLocks noChangeShapeType="1"/>
              <a:stCxn id="41" idx="2"/>
              <a:endCxn id="41" idx="4"/>
            </p:cNvCxnSpPr>
            <p:nvPr/>
          </p:nvCxnSpPr>
          <p:spPr bwMode="auto">
            <a:xfrm>
              <a:off x="7760033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" name="AutoShape 32"/>
            <p:cNvCxnSpPr>
              <a:cxnSpLocks noChangeShapeType="1"/>
              <a:stCxn id="41" idx="4"/>
              <a:endCxn id="41" idx="6"/>
            </p:cNvCxnSpPr>
            <p:nvPr/>
          </p:nvCxnSpPr>
          <p:spPr bwMode="auto">
            <a:xfrm>
              <a:off x="7760033" y="493888"/>
              <a:ext cx="98074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4" name="LegendMoons" hidden="1"/>
          <p:cNvGrpSpPr/>
          <p:nvPr/>
        </p:nvGrpSpPr>
        <p:grpSpPr bwMode="auto">
          <a:xfrm>
            <a:off x="7950987" y="264798"/>
            <a:ext cx="854596" cy="1333054"/>
            <a:chOff x="7875175" y="286625"/>
            <a:chExt cx="837534" cy="1306516"/>
          </a:xfrm>
        </p:grpSpPr>
        <p:grpSp>
          <p:nvGrpSpPr>
            <p:cNvPr id="45" name="MoonLegend2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grpSp>
          <p:nvGrpSpPr>
            <p:cNvPr id="46" name="MoonLegend4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grpSp>
          <p:nvGrpSpPr>
            <p:cNvPr id="47" name="MoonLegend5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grpSp>
          <p:nvGrpSpPr>
            <p:cNvPr id="53" name="MoonLegend3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grpSp>
          <p:nvGrpSpPr>
            <p:cNvPr id="54" name="MoonLegend1"/>
            <p:cNvGrpSpPr>
              <a:grpSpLocks noChangeAspect="1"/>
            </p:cNvGrpSpPr>
            <p:nvPr userDrawn="1">
              <p:custDataLst>
                <p:tags r:id="rId18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55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56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</p:grpSp>
      <p:grpSp>
        <p:nvGrpSpPr>
          <p:cNvPr id="65" name="McK Moon" hidden="1"/>
          <p:cNvGrpSpPr>
            <a:grpSpLocks noChangeAspect="1"/>
          </p:cNvGrpSpPr>
          <p:nvPr>
            <p:custDataLst>
              <p:tags r:id="rId11"/>
            </p:custDataLst>
          </p:nvPr>
        </p:nvGrpSpPr>
        <p:grpSpPr bwMode="auto">
          <a:xfrm>
            <a:off x="8546409" y="1793437"/>
            <a:ext cx="259174" cy="259159"/>
            <a:chOff x="1600" y="1600"/>
            <a:chExt cx="160" cy="160"/>
          </a:xfrm>
        </p:grpSpPr>
        <p:sp>
          <p:nvSpPr>
            <p:cNvPr id="66" name="Oval 90"/>
            <p:cNvSpPr>
              <a:spLocks noChangeAspect="1"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  <a:latin typeface="Arial" charset="0"/>
              </a:endParaRPr>
            </a:p>
          </p:txBody>
        </p:sp>
        <p:sp>
          <p:nvSpPr>
            <p:cNvPr id="67" name="Arc 91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  <a:latin typeface="Arial" charset="0"/>
              </a:endParaRPr>
            </a:p>
          </p:txBody>
        </p:sp>
      </p:grpSp>
      <p:pic>
        <p:nvPicPr>
          <p:cNvPr id="69" name="Picture 68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6809" y="6087040"/>
            <a:ext cx="752475" cy="752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1140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2pPr>
      <a:lvl3pPr marL="393700" indent="-19526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00" baseline="0">
          <a:solidFill>
            <a:schemeClr val="tx1"/>
          </a:solidFill>
          <a:latin typeface="+mn-lt"/>
        </a:defRPr>
      </a:lvl3pPr>
      <a:lvl4pPr marL="625475" indent="-22225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Open Sans" pitchFamily="34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711161728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23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Slide Number"/>
          <p:cNvSpPr txBox="1">
            <a:spLocks/>
          </p:cNvSpPr>
          <p:nvPr/>
        </p:nvSpPr>
        <p:spPr bwMode="auto">
          <a:xfrm>
            <a:off x="8645289" y="6594083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7E7E82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7E7E82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38418" y="228736"/>
            <a:ext cx="846716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338418" y="8099"/>
            <a:ext cx="75463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338418" y="541311"/>
            <a:ext cx="846716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Open Sans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888574" y="6381795"/>
            <a:ext cx="7916327" cy="369302"/>
            <a:chOff x="75" y="3904"/>
            <a:chExt cx="5601" cy="22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04"/>
              <a:ext cx="5601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7E7E82"/>
                  </a:solidFill>
                  <a:latin typeface="Open Sans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37"/>
              <a:ext cx="5086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552450" indent="-552450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n-US" sz="1000" dirty="0">
                  <a:solidFill>
                    <a:srgbClr val="7E7E82"/>
                  </a:solidFill>
                </a:rPr>
                <a:t>SOURCE: </a:t>
              </a:r>
              <a:r>
                <a:rPr lang="en-US" sz="1000" dirty="0" smtClean="0">
                  <a:solidFill>
                    <a:srgbClr val="7E7E82"/>
                  </a:solidFill>
                </a:rPr>
                <a:t>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392981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7E7E82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4" name="LegendBoxes" hidden="1"/>
          <p:cNvGrpSpPr>
            <a:grpSpLocks/>
          </p:cNvGrpSpPr>
          <p:nvPr/>
        </p:nvGrpSpPr>
        <p:grpSpPr bwMode="auto">
          <a:xfrm>
            <a:off x="8018340" y="264799"/>
            <a:ext cx="787243" cy="1013962"/>
            <a:chOff x="4936" y="176"/>
            <a:chExt cx="486" cy="626"/>
          </a:xfrm>
        </p:grpSpPr>
        <p:sp>
          <p:nvSpPr>
            <p:cNvPr id="2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/>
        </p:nvGrpSpPr>
        <p:grpSpPr bwMode="auto">
          <a:xfrm>
            <a:off x="7704091" y="264799"/>
            <a:ext cx="1101492" cy="741845"/>
            <a:chOff x="4750" y="176"/>
            <a:chExt cx="680" cy="458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</p:grpSp>
      <p:grpSp>
        <p:nvGrpSpPr>
          <p:cNvPr id="40" name="McKSticker" hidden="1"/>
          <p:cNvGrpSpPr/>
          <p:nvPr/>
        </p:nvGrpSpPr>
        <p:grpSpPr bwMode="auto">
          <a:xfrm>
            <a:off x="7804861" y="264798"/>
            <a:ext cx="1000722" cy="212366"/>
            <a:chOff x="7760033" y="285750"/>
            <a:chExt cx="980742" cy="208138"/>
          </a:xfrm>
        </p:grpSpPr>
        <p:sp>
          <p:nvSpPr>
            <p:cNvPr id="41" name="StickerRectangle"/>
            <p:cNvSpPr>
              <a:spLocks noChangeArrowheads="1"/>
            </p:cNvSpPr>
            <p:nvPr/>
          </p:nvSpPr>
          <p:spPr bwMode="auto">
            <a:xfrm>
              <a:off x="7760033" y="285750"/>
              <a:ext cx="980742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2" name="AutoShape 31"/>
            <p:cNvCxnSpPr>
              <a:cxnSpLocks noChangeShapeType="1"/>
              <a:stCxn id="41" idx="2"/>
              <a:endCxn id="41" idx="4"/>
            </p:cNvCxnSpPr>
            <p:nvPr/>
          </p:nvCxnSpPr>
          <p:spPr bwMode="auto">
            <a:xfrm>
              <a:off x="7760033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" name="AutoShape 32"/>
            <p:cNvCxnSpPr>
              <a:cxnSpLocks noChangeShapeType="1"/>
              <a:stCxn id="41" idx="4"/>
              <a:endCxn id="41" idx="6"/>
            </p:cNvCxnSpPr>
            <p:nvPr/>
          </p:nvCxnSpPr>
          <p:spPr bwMode="auto">
            <a:xfrm>
              <a:off x="7760033" y="493888"/>
              <a:ext cx="98074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4" name="LegendMoons" hidden="1"/>
          <p:cNvGrpSpPr/>
          <p:nvPr/>
        </p:nvGrpSpPr>
        <p:grpSpPr bwMode="auto">
          <a:xfrm>
            <a:off x="7950987" y="264798"/>
            <a:ext cx="854596" cy="1333054"/>
            <a:chOff x="7875175" y="286625"/>
            <a:chExt cx="837534" cy="1306516"/>
          </a:xfrm>
        </p:grpSpPr>
        <p:grpSp>
          <p:nvGrpSpPr>
            <p:cNvPr id="45" name="MoonLegend2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grpSp>
          <p:nvGrpSpPr>
            <p:cNvPr id="46" name="MoonLegend4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grpSp>
          <p:nvGrpSpPr>
            <p:cNvPr id="47" name="MoonLegend5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grpSp>
          <p:nvGrpSpPr>
            <p:cNvPr id="53" name="MoonLegend3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grpSp>
          <p:nvGrpSpPr>
            <p:cNvPr id="54" name="MoonLegend1"/>
            <p:cNvGrpSpPr>
              <a:grpSpLocks noChangeAspect="1"/>
            </p:cNvGrpSpPr>
            <p:nvPr userDrawn="1">
              <p:custDataLst>
                <p:tags r:id="rId18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55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56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</p:grpSp>
      <p:grpSp>
        <p:nvGrpSpPr>
          <p:cNvPr id="65" name="McK Moon" hidden="1"/>
          <p:cNvGrpSpPr>
            <a:grpSpLocks noChangeAspect="1"/>
          </p:cNvGrpSpPr>
          <p:nvPr>
            <p:custDataLst>
              <p:tags r:id="rId11"/>
            </p:custDataLst>
          </p:nvPr>
        </p:nvGrpSpPr>
        <p:grpSpPr bwMode="auto">
          <a:xfrm>
            <a:off x="8546409" y="1793437"/>
            <a:ext cx="259174" cy="259159"/>
            <a:chOff x="1600" y="1600"/>
            <a:chExt cx="160" cy="160"/>
          </a:xfrm>
        </p:grpSpPr>
        <p:sp>
          <p:nvSpPr>
            <p:cNvPr id="66" name="Oval 90"/>
            <p:cNvSpPr>
              <a:spLocks noChangeAspect="1"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  <a:latin typeface="Arial" charset="0"/>
              </a:endParaRPr>
            </a:p>
          </p:txBody>
        </p:sp>
        <p:sp>
          <p:nvSpPr>
            <p:cNvPr id="67" name="Arc 91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  <a:latin typeface="Arial" charset="0"/>
              </a:endParaRPr>
            </a:p>
          </p:txBody>
        </p:sp>
      </p:grpSp>
      <p:pic>
        <p:nvPicPr>
          <p:cNvPr id="69" name="Picture 68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6809" y="6087040"/>
            <a:ext cx="752475" cy="752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068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2pPr>
      <a:lvl3pPr marL="393700" indent="-19526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00" baseline="0">
          <a:solidFill>
            <a:schemeClr val="tx1"/>
          </a:solidFill>
          <a:latin typeface="+mn-lt"/>
        </a:defRPr>
      </a:lvl3pPr>
      <a:lvl4pPr marL="625475" indent="-22225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Open Sans" pitchFamily="34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334170652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91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Slide Number"/>
          <p:cNvSpPr txBox="1">
            <a:spLocks/>
          </p:cNvSpPr>
          <p:nvPr/>
        </p:nvSpPr>
        <p:spPr bwMode="auto">
          <a:xfrm>
            <a:off x="8645289" y="6594083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7E7E82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7E7E82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338418" y="228736"/>
            <a:ext cx="846716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338418" y="8099"/>
            <a:ext cx="75463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338418" y="541311"/>
            <a:ext cx="846716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Open Sans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888574" y="6381795"/>
            <a:ext cx="7916327" cy="369302"/>
            <a:chOff x="75" y="3904"/>
            <a:chExt cx="5601" cy="22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04"/>
              <a:ext cx="5601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7E7E82"/>
                  </a:solidFill>
                  <a:latin typeface="Open Sans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37"/>
              <a:ext cx="5086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552450" indent="-552450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n-US" sz="1000" dirty="0">
                  <a:solidFill>
                    <a:srgbClr val="7E7E82"/>
                  </a:solidFill>
                </a:rPr>
                <a:t>SOURCE: </a:t>
              </a:r>
              <a:r>
                <a:rPr lang="en-US" sz="1000" dirty="0" smtClean="0">
                  <a:solidFill>
                    <a:srgbClr val="7E7E82"/>
                  </a:solidFill>
                </a:rPr>
                <a:t>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392981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7E7E82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4" name="LegendBoxes" hidden="1"/>
          <p:cNvGrpSpPr>
            <a:grpSpLocks/>
          </p:cNvGrpSpPr>
          <p:nvPr/>
        </p:nvGrpSpPr>
        <p:grpSpPr bwMode="auto">
          <a:xfrm>
            <a:off x="8018340" y="264799"/>
            <a:ext cx="787243" cy="1013962"/>
            <a:chOff x="4936" y="176"/>
            <a:chExt cx="486" cy="626"/>
          </a:xfrm>
        </p:grpSpPr>
        <p:sp>
          <p:nvSpPr>
            <p:cNvPr id="2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/>
        </p:nvGrpSpPr>
        <p:grpSpPr bwMode="auto">
          <a:xfrm>
            <a:off x="7704091" y="264799"/>
            <a:ext cx="1101492" cy="741845"/>
            <a:chOff x="4750" y="176"/>
            <a:chExt cx="680" cy="458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</p:grpSp>
      <p:grpSp>
        <p:nvGrpSpPr>
          <p:cNvPr id="40" name="McKSticker" hidden="1"/>
          <p:cNvGrpSpPr/>
          <p:nvPr/>
        </p:nvGrpSpPr>
        <p:grpSpPr bwMode="auto">
          <a:xfrm>
            <a:off x="7804861" y="264798"/>
            <a:ext cx="1000722" cy="212366"/>
            <a:chOff x="7760033" y="285750"/>
            <a:chExt cx="980742" cy="208138"/>
          </a:xfrm>
        </p:grpSpPr>
        <p:sp>
          <p:nvSpPr>
            <p:cNvPr id="41" name="StickerRectangle"/>
            <p:cNvSpPr>
              <a:spLocks noChangeArrowheads="1"/>
            </p:cNvSpPr>
            <p:nvPr/>
          </p:nvSpPr>
          <p:spPr bwMode="auto">
            <a:xfrm>
              <a:off x="7760033" y="285750"/>
              <a:ext cx="980742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2" name="AutoShape 31"/>
            <p:cNvCxnSpPr>
              <a:cxnSpLocks noChangeShapeType="1"/>
              <a:stCxn id="41" idx="2"/>
              <a:endCxn id="41" idx="4"/>
            </p:cNvCxnSpPr>
            <p:nvPr/>
          </p:nvCxnSpPr>
          <p:spPr bwMode="auto">
            <a:xfrm>
              <a:off x="7760033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" name="AutoShape 32"/>
            <p:cNvCxnSpPr>
              <a:cxnSpLocks noChangeShapeType="1"/>
              <a:stCxn id="41" idx="4"/>
              <a:endCxn id="41" idx="6"/>
            </p:cNvCxnSpPr>
            <p:nvPr/>
          </p:nvCxnSpPr>
          <p:spPr bwMode="auto">
            <a:xfrm>
              <a:off x="7760033" y="493888"/>
              <a:ext cx="98074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4" name="LegendMoons" hidden="1"/>
          <p:cNvGrpSpPr/>
          <p:nvPr/>
        </p:nvGrpSpPr>
        <p:grpSpPr bwMode="auto">
          <a:xfrm>
            <a:off x="7950987" y="264798"/>
            <a:ext cx="854596" cy="1333054"/>
            <a:chOff x="7875175" y="286625"/>
            <a:chExt cx="837534" cy="1306516"/>
          </a:xfrm>
        </p:grpSpPr>
        <p:grpSp>
          <p:nvGrpSpPr>
            <p:cNvPr id="45" name="MoonLegend2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grpSp>
          <p:nvGrpSpPr>
            <p:cNvPr id="46" name="MoonLegend4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grpSp>
          <p:nvGrpSpPr>
            <p:cNvPr id="47" name="MoonLegend5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51685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200" dirty="0">
                  <a:solidFill>
                    <a:srgbClr val="7E7E82"/>
                  </a:solidFill>
                </a:rPr>
                <a:t>Legend</a:t>
              </a:r>
            </a:p>
          </p:txBody>
        </p:sp>
        <p:grpSp>
          <p:nvGrpSpPr>
            <p:cNvPr id="53" name="MoonLegend3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  <p:grpSp>
          <p:nvGrpSpPr>
            <p:cNvPr id="54" name="MoonLegend1"/>
            <p:cNvGrpSpPr>
              <a:grpSpLocks noChangeAspect="1"/>
            </p:cNvGrpSpPr>
            <p:nvPr userDrawn="1">
              <p:custDataLst>
                <p:tags r:id="rId18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55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  <p:sp>
            <p:nvSpPr>
              <p:cNvPr id="56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7E7E82"/>
                  </a:solidFill>
                </a:endParaRPr>
              </a:p>
            </p:txBody>
          </p:sp>
        </p:grpSp>
      </p:grpSp>
      <p:grpSp>
        <p:nvGrpSpPr>
          <p:cNvPr id="65" name="McK Moon" hidden="1"/>
          <p:cNvGrpSpPr>
            <a:grpSpLocks noChangeAspect="1"/>
          </p:cNvGrpSpPr>
          <p:nvPr>
            <p:custDataLst>
              <p:tags r:id="rId11"/>
            </p:custDataLst>
          </p:nvPr>
        </p:nvGrpSpPr>
        <p:grpSpPr bwMode="auto">
          <a:xfrm>
            <a:off x="8546409" y="1793437"/>
            <a:ext cx="259174" cy="259159"/>
            <a:chOff x="1600" y="1600"/>
            <a:chExt cx="160" cy="160"/>
          </a:xfrm>
        </p:grpSpPr>
        <p:sp>
          <p:nvSpPr>
            <p:cNvPr id="66" name="Oval 90"/>
            <p:cNvSpPr>
              <a:spLocks noChangeAspect="1"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  <a:latin typeface="Arial" charset="0"/>
              </a:endParaRPr>
            </a:p>
          </p:txBody>
        </p:sp>
        <p:sp>
          <p:nvSpPr>
            <p:cNvPr id="67" name="Arc 91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7E7E82"/>
                </a:solidFill>
                <a:latin typeface="Arial" charset="0"/>
              </a:endParaRPr>
            </a:p>
          </p:txBody>
        </p:sp>
      </p:grpSp>
      <p:pic>
        <p:nvPicPr>
          <p:cNvPr id="69" name="Picture 68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6809" y="6087040"/>
            <a:ext cx="752475" cy="752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0238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2pPr>
      <a:lvl3pPr marL="393700" indent="-19526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–"/>
        <a:defRPr sz="1600" baseline="0">
          <a:solidFill>
            <a:schemeClr val="tx1"/>
          </a:solidFill>
          <a:latin typeface="+mn-lt"/>
        </a:defRPr>
      </a:lvl3pPr>
      <a:lvl4pPr marL="625475" indent="-22225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Open Sans" pitchFamily="34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tn.gov/hcfa/section/strategic-planning-and-innovation-group" TargetMode="External"/><Relationship Id="rId2" Type="http://schemas.openxmlformats.org/officeDocument/2006/relationships/hyperlink" Target="mailto:payment.reform@tn.gov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87.xml"/><Relationship Id="rId2" Type="http://schemas.openxmlformats.org/officeDocument/2006/relationships/tags" Target="../tags/tag386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98.bin"/><Relationship Id="rId4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88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9.bin"/><Relationship Id="rId3" Type="http://schemas.openxmlformats.org/officeDocument/2006/relationships/tags" Target="../tags/tag390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389.xml"/><Relationship Id="rId1" Type="http://schemas.openxmlformats.org/officeDocument/2006/relationships/vmlDrawing" Target="../drawings/vmlDrawing99.vml"/><Relationship Id="rId6" Type="http://schemas.openxmlformats.org/officeDocument/2006/relationships/slideLayout" Target="../slideLayouts/slideLayout92.xml"/><Relationship Id="rId5" Type="http://schemas.openxmlformats.org/officeDocument/2006/relationships/tags" Target="../tags/tag392.xml"/><Relationship Id="rId4" Type="http://schemas.openxmlformats.org/officeDocument/2006/relationships/tags" Target="../tags/tag391.xml"/><Relationship Id="rId9" Type="http://schemas.openxmlformats.org/officeDocument/2006/relationships/image" Target="../media/image14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99.xml"/><Relationship Id="rId13" Type="http://schemas.openxmlformats.org/officeDocument/2006/relationships/tags" Target="../tags/tag404.xml"/><Relationship Id="rId18" Type="http://schemas.openxmlformats.org/officeDocument/2006/relationships/tags" Target="../tags/tag409.xml"/><Relationship Id="rId3" Type="http://schemas.openxmlformats.org/officeDocument/2006/relationships/tags" Target="../tags/tag394.xml"/><Relationship Id="rId21" Type="http://schemas.openxmlformats.org/officeDocument/2006/relationships/tags" Target="../tags/tag412.xml"/><Relationship Id="rId7" Type="http://schemas.openxmlformats.org/officeDocument/2006/relationships/tags" Target="../tags/tag398.xml"/><Relationship Id="rId12" Type="http://schemas.openxmlformats.org/officeDocument/2006/relationships/tags" Target="../tags/tag403.xml"/><Relationship Id="rId17" Type="http://schemas.openxmlformats.org/officeDocument/2006/relationships/tags" Target="../tags/tag408.xml"/><Relationship Id="rId25" Type="http://schemas.openxmlformats.org/officeDocument/2006/relationships/image" Target="../media/image15.emf"/><Relationship Id="rId2" Type="http://schemas.openxmlformats.org/officeDocument/2006/relationships/tags" Target="../tags/tag393.xml"/><Relationship Id="rId16" Type="http://schemas.openxmlformats.org/officeDocument/2006/relationships/tags" Target="../tags/tag407.xml"/><Relationship Id="rId20" Type="http://schemas.openxmlformats.org/officeDocument/2006/relationships/tags" Target="../tags/tag411.xml"/><Relationship Id="rId1" Type="http://schemas.openxmlformats.org/officeDocument/2006/relationships/vmlDrawing" Target="../drawings/vmlDrawing100.vml"/><Relationship Id="rId6" Type="http://schemas.openxmlformats.org/officeDocument/2006/relationships/tags" Target="../tags/tag397.xml"/><Relationship Id="rId11" Type="http://schemas.openxmlformats.org/officeDocument/2006/relationships/tags" Target="../tags/tag402.xml"/><Relationship Id="rId24" Type="http://schemas.openxmlformats.org/officeDocument/2006/relationships/oleObject" Target="../embeddings/oleObject100.bin"/><Relationship Id="rId5" Type="http://schemas.openxmlformats.org/officeDocument/2006/relationships/tags" Target="../tags/tag396.xml"/><Relationship Id="rId15" Type="http://schemas.openxmlformats.org/officeDocument/2006/relationships/tags" Target="../tags/tag406.xml"/><Relationship Id="rId23" Type="http://schemas.openxmlformats.org/officeDocument/2006/relationships/notesSlide" Target="../notesSlides/notesSlide3.xml"/><Relationship Id="rId10" Type="http://schemas.openxmlformats.org/officeDocument/2006/relationships/tags" Target="../tags/tag401.xml"/><Relationship Id="rId19" Type="http://schemas.openxmlformats.org/officeDocument/2006/relationships/tags" Target="../tags/tag410.xml"/><Relationship Id="rId4" Type="http://schemas.openxmlformats.org/officeDocument/2006/relationships/tags" Target="../tags/tag395.xml"/><Relationship Id="rId9" Type="http://schemas.openxmlformats.org/officeDocument/2006/relationships/tags" Target="../tags/tag400.xml"/><Relationship Id="rId14" Type="http://schemas.openxmlformats.org/officeDocument/2006/relationships/tags" Target="../tags/tag405.xml"/><Relationship Id="rId22" Type="http://schemas.openxmlformats.org/officeDocument/2006/relationships/slideLayout" Target="../slideLayouts/slideLayout9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>
                <a:solidFill>
                  <a:srgbClr val="514F50"/>
                </a:solidFill>
                <a:latin typeface="Georgia" panose="02040502050405020303" pitchFamily="18" charset="0"/>
              </a:rPr>
              <a:t>TEnnCARE</a:t>
            </a:r>
            <a:endParaRPr lang="en-US" dirty="0">
              <a:latin typeface="Georgia" panose="02040502050405020303" pitchFamily="18" charset="0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3810000" y="3581399"/>
            <a:ext cx="4648200" cy="457201"/>
          </a:xfrm>
        </p:spPr>
        <p:txBody>
          <a:bodyPr>
            <a:noAutofit/>
          </a:bodyPr>
          <a:lstStyle/>
          <a:p>
            <a:r>
              <a:rPr lang="en-US" sz="1800" dirty="0"/>
              <a:t>Council on Autism Spectrum </a:t>
            </a:r>
            <a:r>
              <a:rPr lang="en-US" sz="1800" dirty="0" smtClean="0"/>
              <a:t>Disorder April 24, 2018 Update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44814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33352" y="1524000"/>
            <a:ext cx="8877295" cy="5255654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133352" y="152400"/>
            <a:ext cx="8848781" cy="1200329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 smtClean="0">
                <a:solidFill>
                  <a:schemeClr val="tx2"/>
                </a:solidFill>
                <a:latin typeface="Georgia" panose="02040502050405020303" pitchFamily="18" charset="0"/>
                <a:ea typeface="Open Sans Light" panose="020B0306030504020204" pitchFamily="34" charset="0"/>
                <a:cs typeface="PermianSlabSerifTypeface"/>
              </a:rPr>
              <a:t>Episodes estimated savings for 2016 is approximately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 smtClean="0">
                <a:solidFill>
                  <a:schemeClr val="tx2"/>
                </a:solidFill>
                <a:latin typeface="Georgia" panose="02040502050405020303" pitchFamily="18" charset="0"/>
                <a:ea typeface="Open Sans Light" panose="020B0306030504020204" pitchFamily="34" charset="0"/>
                <a:cs typeface="PermianSlabSerifTypeface"/>
              </a:rPr>
              <a:t> </a:t>
            </a:r>
            <a:r>
              <a:rPr lang="en-US" sz="2400" b="1" u="sng" dirty="0" smtClean="0">
                <a:solidFill>
                  <a:schemeClr val="tx2"/>
                </a:solidFill>
                <a:latin typeface="Georgia" panose="02040502050405020303" pitchFamily="18" charset="0"/>
                <a:ea typeface="Open Sans Light" panose="020B0306030504020204" pitchFamily="34" charset="0"/>
                <a:cs typeface="PermianSlabSerifTypeface"/>
              </a:rPr>
              <a:t>$14.5 million</a:t>
            </a:r>
            <a:r>
              <a:rPr lang="en-US" sz="2400" b="1" dirty="0" smtClean="0">
                <a:solidFill>
                  <a:schemeClr val="tx2"/>
                </a:solidFill>
                <a:latin typeface="Georgia" panose="02040502050405020303" pitchFamily="18" charset="0"/>
                <a:ea typeface="Open Sans Light" panose="020B0306030504020204" pitchFamily="34" charset="0"/>
                <a:cs typeface="PermianSlabSerifTypeface"/>
              </a:rPr>
              <a:t> </a:t>
            </a:r>
            <a:r>
              <a:rPr lang="en-US" sz="2400" dirty="0" smtClean="0">
                <a:solidFill>
                  <a:schemeClr val="tx2"/>
                </a:solidFill>
                <a:latin typeface="Georgia" panose="02040502050405020303" pitchFamily="18" charset="0"/>
                <a:ea typeface="Open Sans Light" panose="020B0306030504020204" pitchFamily="34" charset="0"/>
                <a:cs typeface="PermianSlabSerifTypeface"/>
              </a:rPr>
              <a:t>due to episodes’ risk adjusted cost being less than projected medical trend of a 3% annual increase</a:t>
            </a:r>
            <a:endParaRPr lang="en-US" sz="2400" dirty="0">
              <a:solidFill>
                <a:schemeClr val="tx2"/>
              </a:solidFill>
              <a:latin typeface="Georgia" panose="02040502050405020303" pitchFamily="18" charset="0"/>
              <a:ea typeface="Open Sans Light" panose="020B0306030504020204" pitchFamily="34" charset="0"/>
              <a:cs typeface="PermianSlabSerifTypeface"/>
            </a:endParaRPr>
          </a:p>
        </p:txBody>
      </p:sp>
      <p:sp>
        <p:nvSpPr>
          <p:cNvPr id="11" name="Rectangle 5"/>
          <p:cNvSpPr txBox="1">
            <a:spLocks/>
          </p:cNvSpPr>
          <p:nvPr/>
        </p:nvSpPr>
        <p:spPr>
          <a:xfrm>
            <a:off x="1143000" y="1594894"/>
            <a:ext cx="6858001" cy="2339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8284" numCol="1" anchor="b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r" defTabSz="895350">
              <a:buClr>
                <a:schemeClr val="tx2"/>
              </a:buClr>
              <a:buSzPct val="89000"/>
              <a:buFont typeface="Arial" charset="0"/>
              <a:defRPr sz="700" i="1">
                <a:latin typeface="+mn-lt"/>
              </a:defRPr>
            </a:lvl5pPr>
            <a:lvl6pPr marL="12033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latin typeface="+mn-lt"/>
              </a:defRPr>
            </a:lvl6pPr>
            <a:lvl7pPr marL="16605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latin typeface="+mn-lt"/>
              </a:defRPr>
            </a:lvl7pPr>
            <a:lvl8pPr marL="21177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latin typeface="+mn-lt"/>
              </a:defRPr>
            </a:lvl8pPr>
            <a:lvl9pPr marL="25749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1B365D"/>
              </a:buClr>
            </a:pPr>
            <a:r>
              <a:rPr lang="en-US" sz="1400" b="1" dirty="0">
                <a:solidFill>
                  <a:srgbClr val="011D5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omparison of Projected and Actual Avg. Risk-Adjusted Episode Cost, CY 2016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7295290"/>
              </p:ext>
            </p:extLst>
          </p:nvPr>
        </p:nvGraphicFramePr>
        <p:xfrm>
          <a:off x="209553" y="1946573"/>
          <a:ext cx="8705847" cy="4736828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2D5ABB26-0587-4C30-8999-92F81FD0307C}</a:tableStyleId>
              </a:tblPr>
              <a:tblGrid>
                <a:gridCol w="2006129"/>
                <a:gridCol w="1151141"/>
                <a:gridCol w="900377"/>
                <a:gridCol w="1219200"/>
                <a:gridCol w="1082206"/>
                <a:gridCol w="1173397"/>
                <a:gridCol w="1173397"/>
              </a:tblGrid>
              <a:tr h="810781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pisode Type</a:t>
                      </a:r>
                      <a:endParaRPr lang="en-US" sz="16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jected</a:t>
                      </a:r>
                      <a:endParaRPr lang="en-US" sz="16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ual</a:t>
                      </a:r>
                      <a:endParaRPr lang="en-US" sz="16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6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timated</a:t>
                      </a:r>
                      <a:r>
                        <a:rPr lang="en-US" sz="1400" b="1" kern="12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s</a:t>
                      </a:r>
                      <a:r>
                        <a:rPr lang="en-US" sz="1400" b="1" kern="12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vings</a:t>
                      </a:r>
                    </a:p>
                    <a:p>
                      <a:pPr algn="ctr"/>
                      <a:r>
                        <a:rPr lang="en-US" sz="1400" b="1" kern="12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 Episode</a:t>
                      </a:r>
                      <a:endParaRPr lang="en-US" sz="1400" b="1" kern="12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cent</a:t>
                      </a:r>
                      <a:endParaRPr lang="en-US" sz="16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ber of Valid Episodes</a:t>
                      </a:r>
                      <a:endParaRPr lang="en-US" sz="14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 Estimated Savings</a:t>
                      </a:r>
                      <a:endParaRPr lang="en-US" sz="14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95401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,188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4,548,603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95401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inatal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7,100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6,598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502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1%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,090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1,065,302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70550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ute Asthma</a:t>
                      </a:r>
                      <a:r>
                        <a:rPr lang="en-US" sz="1600" b="1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Exacerbation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,249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,067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82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.6%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,939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2,358,909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70550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 Joint Replacement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2,855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1,878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977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6%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60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449,608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95401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olecystectomy</a:t>
                      </a:r>
                      <a:r>
                        <a:rPr lang="en-US" sz="1600" b="1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4,653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4,591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61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3%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110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29,452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95401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lonoscopy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,112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,082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30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7%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929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87,366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95401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PD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2,390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2,253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36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7%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116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561,376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95401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ute PCI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9,376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9,284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92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0%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6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38,279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95401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n-acute PCI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6,926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8,033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$1,107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6.0%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8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$141,689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16185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381002"/>
            <a:ext cx="8551758" cy="502445"/>
          </a:xfrm>
        </p:spPr>
        <p:txBody>
          <a:bodyPr>
            <a:noAutofit/>
          </a:bodyPr>
          <a:lstStyle/>
          <a:p>
            <a:r>
              <a:rPr lang="en-US" sz="2600" dirty="0">
                <a:latin typeface="Georgia" panose="02040502050405020303" pitchFamily="18" charset="0"/>
              </a:rPr>
              <a:t>Estimate of Penalties and Rewards, CY 2016, With One-Time Penalty Adjustment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03806940"/>
              </p:ext>
            </p:extLst>
          </p:nvPr>
        </p:nvGraphicFramePr>
        <p:xfrm>
          <a:off x="1219200" y="1447800"/>
          <a:ext cx="7010400" cy="4711935"/>
        </p:xfrm>
        <a:graphic>
          <a:graphicData uri="http://schemas.openxmlformats.org/drawingml/2006/table">
            <a:tbl>
              <a:tblPr/>
              <a:tblGrid>
                <a:gridCol w="1945683"/>
                <a:gridCol w="1788117"/>
                <a:gridCol w="1717083"/>
                <a:gridCol w="1559517"/>
              </a:tblGrid>
              <a:tr h="394855"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 </a:t>
                      </a:r>
                      <a:r>
                        <a:rPr lang="en-US" sz="16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nnCare</a:t>
                      </a:r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</a:t>
                      </a:r>
                      <a:r>
                        <a:rPr lang="en-US" sz="16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lue Care, Amerigroup, and United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CEC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94855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ward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naltie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lanc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4855"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inatal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777,73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</a:t>
                      </a:r>
                      <a:r>
                        <a:rPr lang="en-US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9,947 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7,784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4855"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ute Asthma</a:t>
                      </a:r>
                      <a:r>
                        <a:rPr lang="en-US" sz="16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Exacerbation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3,31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50,55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$37,240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4855"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 Joint Replacement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5,55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29,51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$23,958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4855"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olecystectomy</a:t>
                      </a:r>
                      <a:r>
                        <a:rPr lang="en-US" sz="16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22,73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25,99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$3,262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4855"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lonoscopy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,841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22,29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$</a:t>
                      </a:r>
                      <a:r>
                        <a:rPr lang="en-US" sz="16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458)</a:t>
                      </a:r>
                      <a:endParaRPr lang="en-US" sz="1600" b="0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4855"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PD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5,55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7,28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8,267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4855"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ute PCI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27,98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37,72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$9,732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4855"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n-acute PCI</a:t>
                      </a:r>
                      <a:endParaRPr lang="en-US" sz="16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5,17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9,07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6,09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485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</a:t>
                      </a:r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36,893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</a:t>
                      </a:r>
                      <a:r>
                        <a:rPr lang="en-US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42,393 </a:t>
                      </a:r>
                      <a:endParaRPr lang="en-US" sz="16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</a:t>
                      </a:r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4,500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5826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>
                <a:latin typeface="Georgia" panose="02040502050405020303" pitchFamily="18" charset="0"/>
              </a:rPr>
              <a:t>Thank</a:t>
            </a:r>
            <a:r>
              <a:rPr lang="en-US" dirty="0" smtClean="0"/>
              <a:t> You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dirty="0" smtClean="0"/>
              <a:t>Questions? Email </a:t>
            </a:r>
            <a:r>
              <a:rPr lang="en-US" sz="2400" dirty="0" smtClean="0">
                <a:hlinkClick r:id="rId2"/>
              </a:rPr>
              <a:t>payment.reform@tn.gov</a:t>
            </a:r>
            <a:endParaRPr lang="en-US" sz="2400" dirty="0" smtClean="0"/>
          </a:p>
          <a:p>
            <a:endParaRPr lang="en-US" sz="2400" dirty="0" smtClean="0"/>
          </a:p>
          <a:p>
            <a:r>
              <a:rPr lang="en-US" sz="2400" dirty="0" smtClean="0"/>
              <a:t>More </a:t>
            </a:r>
            <a:r>
              <a:rPr lang="en-US" sz="2400" dirty="0"/>
              <a:t>information: </a:t>
            </a:r>
            <a:r>
              <a:rPr lang="en-US" sz="2400" dirty="0">
                <a:hlinkClick r:id="rId3"/>
              </a:rPr>
              <a:t>http://</a:t>
            </a:r>
            <a:r>
              <a:rPr lang="en-US" sz="2400" dirty="0" smtClean="0">
                <a:hlinkClick r:id="rId3"/>
              </a:rPr>
              <a:t>www.tn.gov/hcfa/section/strategic-planning-and-innovation-group</a:t>
            </a:r>
            <a:r>
              <a:rPr lang="en-US" sz="2400" dirty="0" smtClean="0"/>
              <a:t> 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582156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-152400"/>
            <a:ext cx="8229600" cy="1143000"/>
          </a:xfrm>
        </p:spPr>
        <p:txBody>
          <a:bodyPr>
            <a:normAutofit/>
          </a:bodyPr>
          <a:lstStyle/>
          <a:p>
            <a:r>
              <a:rPr lang="en-US" sz="2800" dirty="0" smtClean="0">
                <a:latin typeface="Georgia" panose="02040502050405020303" pitchFamily="18" charset="0"/>
              </a:rPr>
              <a:t>Healthcare costs are increasing steadily </a:t>
            </a:r>
            <a:endParaRPr lang="en-US" sz="2800" dirty="0">
              <a:latin typeface="Georgia" panose="02040502050405020303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086598"/>
            <a:ext cx="3276600" cy="457200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600" dirty="0" smtClean="0"/>
              <a:t>Healthcare costs continue to grow at a faster rate than inflation</a:t>
            </a:r>
          </a:p>
          <a:p>
            <a:pPr marL="0" indent="0">
              <a:buNone/>
            </a:pPr>
            <a:endParaRPr lang="en-US" sz="1600" dirty="0"/>
          </a:p>
          <a:p>
            <a:pPr marL="0" lvl="1" indent="0">
              <a:buNone/>
            </a:pPr>
            <a:r>
              <a:rPr lang="en-US" sz="1600" dirty="0" smtClean="0"/>
              <a:t>Healthcare costs for a typical family of 4 have doubled in the last decade</a:t>
            </a:r>
            <a:r>
              <a:rPr lang="en-US" sz="1500" baseline="30000" dirty="0" smtClean="0">
                <a:solidFill>
                  <a:srgbClr val="666666">
                    <a:lumMod val="50000"/>
                  </a:srgbClr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1</a:t>
            </a:r>
            <a:endParaRPr lang="en-US" sz="1600" dirty="0" smtClean="0"/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r>
              <a:rPr lang="en-US" sz="1600" dirty="0" smtClean="0"/>
              <a:t>In the private sector, this squeezes out opportunities for investment and profit</a:t>
            </a:r>
          </a:p>
          <a:p>
            <a:pPr marL="0" indent="0">
              <a:buNone/>
            </a:pPr>
            <a:endParaRPr lang="en-US" sz="1600" dirty="0" smtClean="0"/>
          </a:p>
          <a:p>
            <a:pPr marL="0" indent="0">
              <a:buNone/>
            </a:pPr>
            <a:r>
              <a:rPr lang="en-US" sz="1600" dirty="0" smtClean="0"/>
              <a:t>In government, healthcare costs soak up money that could be spent on other services such as education or safety. </a:t>
            </a:r>
          </a:p>
          <a:p>
            <a:pPr marL="0" indent="0">
              <a:buNone/>
            </a:pPr>
            <a:endParaRPr lang="en-US" sz="1600" dirty="0"/>
          </a:p>
        </p:txBody>
      </p:sp>
      <p:sp>
        <p:nvSpPr>
          <p:cNvPr id="8" name="Text Placeholder 2"/>
          <p:cNvSpPr txBox="1">
            <a:spLocks/>
          </p:cNvSpPr>
          <p:nvPr/>
        </p:nvSpPr>
        <p:spPr>
          <a:xfrm>
            <a:off x="457200" y="1340603"/>
            <a:ext cx="8229600" cy="41655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E71B1B"/>
              </a:buClr>
              <a:buFont typeface="Courier New" panose="02070309020205020404" pitchFamily="49" charset="0"/>
              <a:buChar char="o"/>
              <a:defRPr sz="1600" kern="1200">
                <a:solidFill>
                  <a:srgbClr val="7E7E82"/>
                </a:solidFill>
                <a:latin typeface="Open Sans"/>
                <a:ea typeface="+mn-ea"/>
                <a:cs typeface="Open San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E71B1B"/>
              </a:buClr>
              <a:buFont typeface="Arial" pitchFamily="34" charset="0"/>
              <a:buChar char="•"/>
              <a:defRPr sz="1400" kern="1200">
                <a:solidFill>
                  <a:srgbClr val="7E7E82"/>
                </a:solidFill>
                <a:latin typeface="Open Sans"/>
                <a:ea typeface="+mn-ea"/>
                <a:cs typeface="Open San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E71B1B"/>
              </a:buClr>
              <a:buFont typeface="Calibri" panose="020F0502020204030204" pitchFamily="34" charset="0"/>
              <a:buChar char="–"/>
              <a:defRPr sz="1200" kern="1200">
                <a:solidFill>
                  <a:srgbClr val="7E7E82"/>
                </a:solidFill>
                <a:latin typeface="Open Sans"/>
                <a:ea typeface="+mn-ea"/>
                <a:cs typeface="Open San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E71B1B"/>
              </a:buClr>
              <a:buFont typeface="Wingdings" panose="05000000000000000000" pitchFamily="2" charset="2"/>
              <a:buChar char="§"/>
              <a:defRPr sz="1100" kern="1200">
                <a:solidFill>
                  <a:srgbClr val="7E7E82"/>
                </a:solidFill>
                <a:latin typeface="Open Sans"/>
                <a:ea typeface="+mn-ea"/>
                <a:cs typeface="Open San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E71B1B"/>
              </a:buClr>
              <a:buFont typeface="Arial" pitchFamily="34" charset="0"/>
              <a:buChar char="»"/>
              <a:defRPr sz="1100" kern="1200">
                <a:solidFill>
                  <a:srgbClr val="7E7E82"/>
                </a:solidFill>
                <a:latin typeface="Open Sans"/>
                <a:ea typeface="+mn-ea"/>
                <a:cs typeface="Open San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Courier New" panose="02070309020205020404" pitchFamily="49" charset="0"/>
              <a:buNone/>
            </a:pPr>
            <a:endParaRPr lang="en-JM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5200" y="914400"/>
            <a:ext cx="5658640" cy="5353798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990600" y="6384588"/>
            <a:ext cx="6705600" cy="6258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en-US" sz="1500" baseline="30000" dirty="0" smtClean="0">
                <a:solidFill>
                  <a:srgbClr val="666666">
                    <a:lumMod val="50000"/>
                  </a:srgbClr>
                </a:solidFill>
                <a:latin typeface="Open Sans"/>
                <a:ea typeface="Arial Unicode MS" panose="020B0604020202020204" pitchFamily="34" charset="-128"/>
                <a:cs typeface="Arial Unicode MS" panose="020B0604020202020204" pitchFamily="34" charset="-128"/>
              </a:rPr>
              <a:t>1 </a:t>
            </a:r>
            <a:r>
              <a:rPr lang="en-US" sz="1000" dirty="0">
                <a:solidFill>
                  <a:srgbClr val="66666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15 </a:t>
            </a:r>
            <a:r>
              <a:rPr lang="en-US" sz="1000" dirty="0" err="1">
                <a:solidFill>
                  <a:srgbClr val="66666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illiman</a:t>
            </a:r>
            <a:r>
              <a:rPr lang="en-US" sz="1000" dirty="0">
                <a:solidFill>
                  <a:srgbClr val="66666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Medical Index</a:t>
            </a:r>
          </a:p>
          <a:p>
            <a:pPr marL="0" lvl="1"/>
            <a:endParaRPr lang="en-US" sz="1000" baseline="30000" dirty="0" smtClean="0">
              <a:solidFill>
                <a:srgbClr val="666666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0081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-304800" y="2005390"/>
            <a:ext cx="9448800" cy="4852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algn="ctr">
              <a:spcBef>
                <a:spcPts val="1530"/>
              </a:spcBef>
              <a:spcAft>
                <a:spcPts val="102"/>
              </a:spcAft>
            </a:pPr>
            <a:endParaRPr lang="en-US" sz="1600" dirty="0" smtClean="0">
              <a:solidFill>
                <a:srgbClr val="666666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lvl="1" algn="ctr">
              <a:spcBef>
                <a:spcPts val="1530"/>
              </a:spcBef>
              <a:spcAft>
                <a:spcPts val="102"/>
              </a:spcAft>
            </a:pPr>
            <a:r>
              <a:rPr lang="en-US" sz="1600" dirty="0" smtClean="0">
                <a:solidFill>
                  <a:srgbClr val="1B365D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e are </a:t>
            </a:r>
            <a:r>
              <a:rPr lang="en-US" sz="1600" b="1" dirty="0" smtClean="0">
                <a:solidFill>
                  <a:srgbClr val="1B365D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eeply committed </a:t>
            </a:r>
            <a:r>
              <a:rPr lang="en-US" sz="1600" dirty="0" smtClean="0">
                <a:solidFill>
                  <a:srgbClr val="1B365D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o reforming the way that we pay for healthcare in Tennessee</a:t>
            </a:r>
          </a:p>
          <a:p>
            <a:pPr lvl="1" algn="ctr">
              <a:spcBef>
                <a:spcPts val="1530"/>
              </a:spcBef>
              <a:spcAft>
                <a:spcPts val="102"/>
              </a:spcAft>
            </a:pPr>
            <a:r>
              <a:rPr lang="en-US" sz="1600" dirty="0" smtClean="0">
                <a:solidFill>
                  <a:srgbClr val="1B365D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Our goal is to </a:t>
            </a:r>
            <a:r>
              <a:rPr lang="en-US" sz="1600" b="1" dirty="0" smtClean="0">
                <a:solidFill>
                  <a:srgbClr val="1B365D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ay</a:t>
            </a:r>
            <a:r>
              <a:rPr lang="en-US" sz="1600" dirty="0" smtClean="0">
                <a:solidFill>
                  <a:srgbClr val="1B365D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smtClean="0">
                <a:solidFill>
                  <a:srgbClr val="1B365D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for outcomes and for quality care</a:t>
            </a:r>
            <a:r>
              <a:rPr lang="en-US" sz="1600" dirty="0" smtClean="0">
                <a:solidFill>
                  <a:srgbClr val="1B365D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, and to reward strongly performing providers</a:t>
            </a:r>
          </a:p>
          <a:p>
            <a:pPr lvl="1" algn="ctr">
              <a:spcBef>
                <a:spcPts val="1530"/>
              </a:spcBef>
              <a:spcAft>
                <a:spcPts val="102"/>
              </a:spcAft>
            </a:pPr>
            <a:r>
              <a:rPr lang="en-US" sz="1600" dirty="0" smtClean="0">
                <a:solidFill>
                  <a:srgbClr val="1B365D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e plan to have value-based payment account for the </a:t>
            </a:r>
            <a:r>
              <a:rPr lang="en-US" sz="1600" b="1" dirty="0" smtClean="0">
                <a:solidFill>
                  <a:srgbClr val="1B365D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majority of healthcare spend </a:t>
            </a:r>
            <a:r>
              <a:rPr lang="en-US" sz="1600" dirty="0" smtClean="0">
                <a:solidFill>
                  <a:srgbClr val="1B365D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ithin the next three to five years </a:t>
            </a:r>
          </a:p>
          <a:p>
            <a:pPr lvl="1" algn="ctr">
              <a:spcBef>
                <a:spcPts val="1530"/>
              </a:spcBef>
              <a:spcAft>
                <a:spcPts val="102"/>
              </a:spcAft>
            </a:pPr>
            <a:r>
              <a:rPr lang="en-US" sz="1600" dirty="0" smtClean="0">
                <a:solidFill>
                  <a:srgbClr val="1B365D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By </a:t>
            </a:r>
            <a:r>
              <a:rPr lang="en-US" sz="1600" b="1" dirty="0" smtClean="0">
                <a:solidFill>
                  <a:srgbClr val="1B365D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ligning on common approaches </a:t>
            </a:r>
            <a:r>
              <a:rPr lang="en-US" sz="1600" dirty="0" smtClean="0">
                <a:solidFill>
                  <a:srgbClr val="1B365D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e will see greater impact and ease the transition for providers</a:t>
            </a:r>
          </a:p>
          <a:p>
            <a:pPr lvl="1" algn="ctr">
              <a:spcBef>
                <a:spcPts val="1530"/>
              </a:spcBef>
              <a:spcAft>
                <a:spcPts val="102"/>
              </a:spcAft>
            </a:pPr>
            <a:r>
              <a:rPr lang="en-US" sz="1600" dirty="0" smtClean="0">
                <a:solidFill>
                  <a:srgbClr val="1B365D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e appreciate that hospitals, medical providers, and payers have all demonstrated a </a:t>
            </a:r>
            <a:r>
              <a:rPr lang="en-US" sz="1600" b="1" dirty="0" smtClean="0">
                <a:solidFill>
                  <a:srgbClr val="1B365D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incere willingness </a:t>
            </a:r>
            <a:r>
              <a:rPr lang="en-US" sz="1600" dirty="0" smtClean="0">
                <a:solidFill>
                  <a:srgbClr val="1B365D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o move toward payment reform</a:t>
            </a:r>
          </a:p>
          <a:p>
            <a:pPr lvl="1" algn="ctr">
              <a:spcBef>
                <a:spcPts val="1530"/>
              </a:spcBef>
              <a:spcAft>
                <a:spcPts val="102"/>
              </a:spcAft>
            </a:pPr>
            <a:r>
              <a:rPr lang="en-US" sz="1600" dirty="0" smtClean="0">
                <a:solidFill>
                  <a:srgbClr val="1B365D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By working together, we can make significant progress toward </a:t>
            </a:r>
            <a:r>
              <a:rPr lang="en-US" sz="1600" b="1" dirty="0" smtClean="0">
                <a:solidFill>
                  <a:srgbClr val="1B365D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ustainable medical costs and improving care</a:t>
            </a:r>
          </a:p>
          <a:p>
            <a:endParaRPr lang="en-US" sz="1200" dirty="0" smtClean="0">
              <a:solidFill>
                <a:prstClr val="black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lvl="1">
              <a:spcBef>
                <a:spcPts val="1530"/>
              </a:spcBef>
              <a:spcAft>
                <a:spcPts val="102"/>
              </a:spcAft>
            </a:pPr>
            <a:endParaRPr lang="en-US" sz="120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" name="Title 2"/>
          <p:cNvSpPr txBox="1">
            <a:spLocks/>
          </p:cNvSpPr>
          <p:nvPr/>
        </p:nvSpPr>
        <p:spPr>
          <a:xfrm>
            <a:off x="457200" y="304800"/>
            <a:ext cx="8229600" cy="1143000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i="0" kern="1200">
                <a:solidFill>
                  <a:schemeClr val="tx2"/>
                </a:solidFill>
                <a:latin typeface="PermianSlabSerifTypeface"/>
                <a:ea typeface="Open Sans Light" panose="020B0306030504020204" pitchFamily="34" charset="0"/>
                <a:cs typeface="PermianSlabSerifTypeface"/>
              </a:defRPr>
            </a:lvl1pPr>
          </a:lstStyle>
          <a:p>
            <a:r>
              <a:rPr lang="en-US" sz="2700" dirty="0" smtClean="0">
                <a:solidFill>
                  <a:srgbClr val="002060"/>
                </a:solidFill>
                <a:latin typeface="Georgia" panose="02040502050405020303" pitchFamily="18" charset="0"/>
                <a:ea typeface="Open Sans" panose="020B0606030504020204" pitchFamily="34" charset="0"/>
                <a:cs typeface="Open Sans" panose="020B0606030504020204" pitchFamily="34" charset="0"/>
              </a:rPr>
              <a:t>Tennessee Health Care Innovation Initiative</a:t>
            </a:r>
            <a:endParaRPr lang="en-US" sz="2700" dirty="0">
              <a:solidFill>
                <a:srgbClr val="002060"/>
              </a:solidFill>
              <a:latin typeface="Georgia" panose="02040502050405020303" pitchFamily="18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200" y="1066800"/>
            <a:ext cx="5504104" cy="1295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4144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 txBox="1">
            <a:spLocks/>
          </p:cNvSpPr>
          <p:nvPr/>
        </p:nvSpPr>
        <p:spPr bwMode="gray">
          <a:xfrm>
            <a:off x="4816" y="9625"/>
            <a:ext cx="8229600" cy="6545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i="0" kern="1200">
                <a:solidFill>
                  <a:schemeClr val="tx2"/>
                </a:solidFill>
                <a:latin typeface="PermianSlabSerifTypeface"/>
                <a:ea typeface="Open Sans Light" panose="020B0306030504020204" pitchFamily="34" charset="0"/>
                <a:cs typeface="PermianSlabSerifTypeface"/>
              </a:defRPr>
            </a:lvl1pPr>
          </a:lstStyle>
          <a:p>
            <a:pPr>
              <a:defRPr/>
            </a:pPr>
            <a:r>
              <a:rPr lang="en-US" dirty="0" smtClean="0">
                <a:solidFill>
                  <a:srgbClr val="002060"/>
                </a:solidFill>
                <a:latin typeface="Georgia" panose="02040502050405020303" pitchFamily="18" charset="0"/>
              </a:rPr>
              <a:t>Tennessee’s Three Strategies</a:t>
            </a:r>
            <a:endParaRPr lang="en-US" dirty="0">
              <a:solidFill>
                <a:srgbClr val="002060"/>
              </a:solidFill>
              <a:latin typeface="Georgia" panose="02040502050405020303" pitchFamily="18" charset="0"/>
            </a:endParaRPr>
          </a:p>
        </p:txBody>
      </p:sp>
      <p:sp>
        <p:nvSpPr>
          <p:cNvPr id="3" name="Rectangle 23"/>
          <p:cNvSpPr txBox="1">
            <a:spLocks noChangeArrowheads="1"/>
          </p:cNvSpPr>
          <p:nvPr/>
        </p:nvSpPr>
        <p:spPr bwMode="gray">
          <a:xfrm>
            <a:off x="5867401" y="592068"/>
            <a:ext cx="3124199" cy="457145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xtLst/>
        </p:spPr>
        <p:txBody>
          <a:bodyPr wrap="square" lIns="45716" tIns="45716" rIns="45716" bIns="45716" anchor="ctr" anchorCtr="0">
            <a:noAutofit/>
          </a:bodyPr>
          <a:lstStyle>
            <a:lvl1pPr marL="342900" indent="-342900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58738" indent="0" eaLnBrk="0" hangingPunct="0">
              <a:spcBef>
                <a:spcPct val="40000"/>
              </a:spcBef>
              <a:buClr>
                <a:srgbClr val="1B365D"/>
              </a:buClr>
            </a:pPr>
            <a:r>
              <a:rPr lang="en-US" sz="1500" b="1" dirty="0" smtClean="0">
                <a:solidFill>
                  <a:prstClr val="white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Examples</a:t>
            </a:r>
            <a:endParaRPr lang="en-US" sz="1500" b="1" dirty="0">
              <a:solidFill>
                <a:prstClr val="white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21"/>
          <p:cNvSpPr txBox="1">
            <a:spLocks noChangeArrowheads="1"/>
          </p:cNvSpPr>
          <p:nvPr/>
        </p:nvSpPr>
        <p:spPr bwMode="gray">
          <a:xfrm>
            <a:off x="2443808" y="592068"/>
            <a:ext cx="3297062" cy="4572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xtLst/>
        </p:spPr>
        <p:txBody>
          <a:bodyPr wrap="square" lIns="45716" tIns="45716" rIns="45716" bIns="45716" anchor="ctr" anchorCtr="0">
            <a:noAutofit/>
          </a:bodyPr>
          <a:lstStyle>
            <a:lvl1pPr marL="342900" indent="-342900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58738" indent="0" eaLnBrk="0" hangingPunct="0">
              <a:spcBef>
                <a:spcPct val="40000"/>
              </a:spcBef>
              <a:buClr>
                <a:srgbClr val="1B365D"/>
              </a:buClr>
            </a:pPr>
            <a:r>
              <a:rPr lang="en-US" sz="1500" b="1" dirty="0" smtClean="0">
                <a:solidFill>
                  <a:prstClr val="white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trategy elements</a:t>
            </a:r>
          </a:p>
        </p:txBody>
      </p:sp>
      <p:sp>
        <p:nvSpPr>
          <p:cNvPr id="6" name="Oval 3"/>
          <p:cNvSpPr/>
          <p:nvPr/>
        </p:nvSpPr>
        <p:spPr bwMode="gray">
          <a:xfrm flipV="1">
            <a:off x="1" y="2605235"/>
            <a:ext cx="2368549" cy="2120253"/>
          </a:xfrm>
          <a:custGeom>
            <a:avLst/>
            <a:gdLst/>
            <a:ahLst/>
            <a:cxnLst/>
            <a:rect l="l" t="t" r="r" b="b"/>
            <a:pathLst>
              <a:path w="2408237" h="5232769">
                <a:moveTo>
                  <a:pt x="0" y="0"/>
                </a:moveTo>
                <a:cubicBezTo>
                  <a:pt x="1348621" y="109426"/>
                  <a:pt x="2408237" y="1239161"/>
                  <a:pt x="2408237" y="2616384"/>
                </a:cubicBezTo>
                <a:cubicBezTo>
                  <a:pt x="2408237" y="3993607"/>
                  <a:pt x="1348621" y="5123342"/>
                  <a:pt x="0" y="5232769"/>
                </a:cubicBezTo>
                <a:close/>
              </a:path>
            </a:pathLst>
          </a:custGeom>
          <a:solidFill>
            <a:srgbClr val="1B365D"/>
          </a:solidFill>
          <a:ln w="9525" cap="flat" cmpd="sng" algn="ctr">
            <a:noFill/>
            <a:prstDash val="solid"/>
          </a:ln>
          <a:effectLst/>
        </p:spPr>
        <p:txBody>
          <a:bodyPr lIns="91420" tIns="45710" rIns="91420" bIns="45710" anchor="ctr">
            <a:noAutofit/>
          </a:bodyPr>
          <a:lstStyle/>
          <a:p>
            <a:pPr algn="ctr">
              <a:defRPr/>
            </a:pPr>
            <a:endParaRPr lang="en-US" sz="1200" kern="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" name="Rectangle 27"/>
          <p:cNvSpPr txBox="1">
            <a:spLocks/>
          </p:cNvSpPr>
          <p:nvPr/>
        </p:nvSpPr>
        <p:spPr bwMode="gray">
          <a:xfrm>
            <a:off x="76199" y="1639213"/>
            <a:ext cx="1494453" cy="461665"/>
          </a:xfrm>
          <a:prstGeom prst="rect">
            <a:avLst/>
          </a:prstGeom>
          <a:solidFill>
            <a:sysClr val="window" lastClr="FFFFFF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>
              <a:buClr>
                <a:srgbClr val="1B365D"/>
              </a:buClr>
              <a:defRPr/>
            </a:pPr>
            <a:r>
              <a:rPr lang="en-US" sz="1500" b="1" kern="0" dirty="0" smtClean="0">
                <a:solidFill>
                  <a:srgbClr val="1B365D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rimary Care </a:t>
            </a:r>
          </a:p>
          <a:p>
            <a:pPr eaLnBrk="0" hangingPunct="0">
              <a:buClr>
                <a:srgbClr val="1B365D"/>
              </a:buClr>
              <a:defRPr/>
            </a:pPr>
            <a:r>
              <a:rPr lang="en-US" sz="1500" b="1" kern="0" dirty="0" smtClean="0">
                <a:solidFill>
                  <a:srgbClr val="1B365D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ransformation</a:t>
            </a:r>
            <a:endParaRPr lang="en-US" sz="1500" b="1" kern="0" dirty="0">
              <a:solidFill>
                <a:srgbClr val="1B365D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27"/>
          <p:cNvSpPr txBox="1">
            <a:spLocks/>
          </p:cNvSpPr>
          <p:nvPr/>
        </p:nvSpPr>
        <p:spPr bwMode="gray">
          <a:xfrm>
            <a:off x="180975" y="3576935"/>
            <a:ext cx="1343025" cy="461665"/>
          </a:xfrm>
          <a:prstGeom prst="rect">
            <a:avLst/>
          </a:prstGeom>
          <a:solidFill>
            <a:srgbClr val="1B365D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0" hangingPunct="0">
              <a:buClr>
                <a:srgbClr val="1B365D"/>
              </a:buClr>
              <a:defRPr/>
            </a:pPr>
            <a:r>
              <a:rPr lang="en-US" sz="1500" b="1" kern="0" dirty="0" smtClean="0">
                <a:solidFill>
                  <a:prstClr val="white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Episodes of Care</a:t>
            </a:r>
            <a:endParaRPr lang="en-US" sz="1500" b="1" kern="0" dirty="0">
              <a:solidFill>
                <a:prstClr val="white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27"/>
          <p:cNvSpPr txBox="1">
            <a:spLocks/>
          </p:cNvSpPr>
          <p:nvPr/>
        </p:nvSpPr>
        <p:spPr bwMode="gray">
          <a:xfrm>
            <a:off x="199345" y="5318159"/>
            <a:ext cx="2226298" cy="461665"/>
          </a:xfrm>
          <a:prstGeom prst="rect">
            <a:avLst/>
          </a:prstGeom>
          <a:solidFill>
            <a:sysClr val="window" lastClr="FFFFFF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>
              <a:buClr>
                <a:srgbClr val="1B365D"/>
              </a:buClr>
              <a:defRPr/>
            </a:pPr>
            <a:r>
              <a:rPr lang="en-US" sz="1500" b="1" kern="0" dirty="0" smtClean="0">
                <a:solidFill>
                  <a:srgbClr val="1B365D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ong Term Services &amp; Supports</a:t>
            </a:r>
            <a:endParaRPr lang="en-US" sz="1500" b="1" kern="0" dirty="0">
              <a:solidFill>
                <a:srgbClr val="1B365D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grpSp>
        <p:nvGrpSpPr>
          <p:cNvPr id="10" name="Group 9"/>
          <p:cNvGrpSpPr>
            <a:grpSpLocks/>
          </p:cNvGrpSpPr>
          <p:nvPr/>
        </p:nvGrpSpPr>
        <p:grpSpPr bwMode="gray">
          <a:xfrm>
            <a:off x="1564068" y="3185013"/>
            <a:ext cx="563790" cy="780980"/>
            <a:chOff x="1522299" y="3243816"/>
            <a:chExt cx="647328" cy="896701"/>
          </a:xfrm>
        </p:grpSpPr>
        <p:sp>
          <p:nvSpPr>
            <p:cNvPr id="11" name="Oval 10"/>
            <p:cNvSpPr>
              <a:spLocks/>
            </p:cNvSpPr>
            <p:nvPr/>
          </p:nvSpPr>
          <p:spPr bwMode="gray">
            <a:xfrm>
              <a:off x="1522299" y="3243816"/>
              <a:ext cx="647328" cy="896701"/>
            </a:xfrm>
            <a:prstGeom prst="ellipse">
              <a:avLst/>
            </a:prstGeom>
            <a:solidFill>
              <a:srgbClr val="1B365D"/>
            </a:solidFill>
            <a:ln w="19050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731" tIns="46648" rIns="36731" bIns="46648" anchor="ctr">
              <a:noAutofit/>
            </a:bodyPr>
            <a:lstStyle/>
            <a:p>
              <a:pPr>
                <a:defRPr/>
              </a:pPr>
              <a:endParaRPr lang="en-US" sz="1200" kern="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grpSp>
          <p:nvGrpSpPr>
            <p:cNvPr id="12" name="Group 11"/>
            <p:cNvGrpSpPr/>
            <p:nvPr/>
          </p:nvGrpSpPr>
          <p:grpSpPr bwMode="gray">
            <a:xfrm>
              <a:off x="1723726" y="3374666"/>
              <a:ext cx="244475" cy="635000"/>
              <a:chOff x="728663" y="1630363"/>
              <a:chExt cx="488950" cy="1270000"/>
            </a:xfrm>
            <a:solidFill>
              <a:sysClr val="window" lastClr="FFFFFF"/>
            </a:solidFill>
          </p:grpSpPr>
          <p:sp>
            <p:nvSpPr>
              <p:cNvPr id="13" name="Freeform 10"/>
              <p:cNvSpPr>
                <a:spLocks noEditPoints="1"/>
              </p:cNvSpPr>
              <p:nvPr/>
            </p:nvSpPr>
            <p:spPr bwMode="gray">
              <a:xfrm>
                <a:off x="728663" y="1865313"/>
                <a:ext cx="488950" cy="1035050"/>
              </a:xfrm>
              <a:custGeom>
                <a:avLst/>
                <a:gdLst>
                  <a:gd name="T0" fmla="*/ 278 w 308"/>
                  <a:gd name="T1" fmla="*/ 298 h 652"/>
                  <a:gd name="T2" fmla="*/ 300 w 308"/>
                  <a:gd name="T3" fmla="*/ 268 h 652"/>
                  <a:gd name="T4" fmla="*/ 308 w 308"/>
                  <a:gd name="T5" fmla="*/ 232 h 652"/>
                  <a:gd name="T6" fmla="*/ 306 w 308"/>
                  <a:gd name="T7" fmla="*/ 218 h 652"/>
                  <a:gd name="T8" fmla="*/ 300 w 308"/>
                  <a:gd name="T9" fmla="*/ 194 h 652"/>
                  <a:gd name="T10" fmla="*/ 294 w 308"/>
                  <a:gd name="T11" fmla="*/ 184 h 652"/>
                  <a:gd name="T12" fmla="*/ 190 w 308"/>
                  <a:gd name="T13" fmla="*/ 26 h 652"/>
                  <a:gd name="T14" fmla="*/ 166 w 308"/>
                  <a:gd name="T15" fmla="*/ 6 h 652"/>
                  <a:gd name="T16" fmla="*/ 138 w 308"/>
                  <a:gd name="T17" fmla="*/ 0 h 652"/>
                  <a:gd name="T18" fmla="*/ 108 w 308"/>
                  <a:gd name="T19" fmla="*/ 8 h 652"/>
                  <a:gd name="T20" fmla="*/ 84 w 308"/>
                  <a:gd name="T21" fmla="*/ 24 h 652"/>
                  <a:gd name="T22" fmla="*/ 84 w 308"/>
                  <a:gd name="T23" fmla="*/ 24 h 652"/>
                  <a:gd name="T24" fmla="*/ 8 w 308"/>
                  <a:gd name="T25" fmla="*/ 98 h 652"/>
                  <a:gd name="T26" fmla="*/ 2 w 308"/>
                  <a:gd name="T27" fmla="*/ 108 h 652"/>
                  <a:gd name="T28" fmla="*/ 0 w 308"/>
                  <a:gd name="T29" fmla="*/ 118 h 652"/>
                  <a:gd name="T30" fmla="*/ 12 w 308"/>
                  <a:gd name="T31" fmla="*/ 138 h 652"/>
                  <a:gd name="T32" fmla="*/ 100 w 308"/>
                  <a:gd name="T33" fmla="*/ 200 h 652"/>
                  <a:gd name="T34" fmla="*/ 114 w 308"/>
                  <a:gd name="T35" fmla="*/ 206 h 652"/>
                  <a:gd name="T36" fmla="*/ 130 w 308"/>
                  <a:gd name="T37" fmla="*/ 200 h 652"/>
                  <a:gd name="T38" fmla="*/ 150 w 308"/>
                  <a:gd name="T39" fmla="*/ 388 h 652"/>
                  <a:gd name="T40" fmla="*/ 142 w 308"/>
                  <a:gd name="T41" fmla="*/ 460 h 652"/>
                  <a:gd name="T42" fmla="*/ 128 w 308"/>
                  <a:gd name="T43" fmla="*/ 620 h 652"/>
                  <a:gd name="T44" fmla="*/ 130 w 308"/>
                  <a:gd name="T45" fmla="*/ 626 h 652"/>
                  <a:gd name="T46" fmla="*/ 136 w 308"/>
                  <a:gd name="T47" fmla="*/ 642 h 652"/>
                  <a:gd name="T48" fmla="*/ 150 w 308"/>
                  <a:gd name="T49" fmla="*/ 650 h 652"/>
                  <a:gd name="T50" fmla="*/ 156 w 308"/>
                  <a:gd name="T51" fmla="*/ 652 h 652"/>
                  <a:gd name="T52" fmla="*/ 168 w 308"/>
                  <a:gd name="T53" fmla="*/ 650 h 652"/>
                  <a:gd name="T54" fmla="*/ 184 w 308"/>
                  <a:gd name="T55" fmla="*/ 636 h 652"/>
                  <a:gd name="T56" fmla="*/ 188 w 308"/>
                  <a:gd name="T57" fmla="*/ 624 h 652"/>
                  <a:gd name="T58" fmla="*/ 208 w 308"/>
                  <a:gd name="T59" fmla="*/ 388 h 652"/>
                  <a:gd name="T60" fmla="*/ 282 w 308"/>
                  <a:gd name="T61" fmla="*/ 388 h 652"/>
                  <a:gd name="T62" fmla="*/ 278 w 308"/>
                  <a:gd name="T63" fmla="*/ 298 h 652"/>
                  <a:gd name="T64" fmla="*/ 114 w 308"/>
                  <a:gd name="T65" fmla="*/ 66 h 652"/>
                  <a:gd name="T66" fmla="*/ 136 w 308"/>
                  <a:gd name="T67" fmla="*/ 164 h 652"/>
                  <a:gd name="T68" fmla="*/ 66 w 308"/>
                  <a:gd name="T69" fmla="*/ 112 h 6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08" h="652">
                    <a:moveTo>
                      <a:pt x="278" y="298"/>
                    </a:moveTo>
                    <a:lnTo>
                      <a:pt x="278" y="298"/>
                    </a:lnTo>
                    <a:lnTo>
                      <a:pt x="290" y="284"/>
                    </a:lnTo>
                    <a:lnTo>
                      <a:pt x="300" y="268"/>
                    </a:lnTo>
                    <a:lnTo>
                      <a:pt x="306" y="250"/>
                    </a:lnTo>
                    <a:lnTo>
                      <a:pt x="308" y="232"/>
                    </a:lnTo>
                    <a:lnTo>
                      <a:pt x="308" y="232"/>
                    </a:lnTo>
                    <a:lnTo>
                      <a:pt x="306" y="218"/>
                    </a:lnTo>
                    <a:lnTo>
                      <a:pt x="304" y="206"/>
                    </a:lnTo>
                    <a:lnTo>
                      <a:pt x="300" y="194"/>
                    </a:lnTo>
                    <a:lnTo>
                      <a:pt x="294" y="184"/>
                    </a:lnTo>
                    <a:lnTo>
                      <a:pt x="294" y="184"/>
                    </a:lnTo>
                    <a:lnTo>
                      <a:pt x="190" y="26"/>
                    </a:lnTo>
                    <a:lnTo>
                      <a:pt x="190" y="26"/>
                    </a:lnTo>
                    <a:lnTo>
                      <a:pt x="178" y="14"/>
                    </a:lnTo>
                    <a:lnTo>
                      <a:pt x="166" y="6"/>
                    </a:lnTo>
                    <a:lnTo>
                      <a:pt x="152" y="2"/>
                    </a:lnTo>
                    <a:lnTo>
                      <a:pt x="138" y="0"/>
                    </a:lnTo>
                    <a:lnTo>
                      <a:pt x="124" y="2"/>
                    </a:lnTo>
                    <a:lnTo>
                      <a:pt x="108" y="8"/>
                    </a:lnTo>
                    <a:lnTo>
                      <a:pt x="96" y="14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4" y="102"/>
                    </a:lnTo>
                    <a:lnTo>
                      <a:pt x="2" y="108"/>
                    </a:lnTo>
                    <a:lnTo>
                      <a:pt x="0" y="114"/>
                    </a:lnTo>
                    <a:lnTo>
                      <a:pt x="0" y="118"/>
                    </a:lnTo>
                    <a:lnTo>
                      <a:pt x="4" y="130"/>
                    </a:lnTo>
                    <a:lnTo>
                      <a:pt x="12" y="138"/>
                    </a:lnTo>
                    <a:lnTo>
                      <a:pt x="100" y="200"/>
                    </a:lnTo>
                    <a:lnTo>
                      <a:pt x="100" y="200"/>
                    </a:lnTo>
                    <a:lnTo>
                      <a:pt x="106" y="204"/>
                    </a:lnTo>
                    <a:lnTo>
                      <a:pt x="114" y="206"/>
                    </a:lnTo>
                    <a:lnTo>
                      <a:pt x="122" y="204"/>
                    </a:lnTo>
                    <a:lnTo>
                      <a:pt x="130" y="200"/>
                    </a:lnTo>
                    <a:lnTo>
                      <a:pt x="34" y="388"/>
                    </a:lnTo>
                    <a:lnTo>
                      <a:pt x="150" y="388"/>
                    </a:lnTo>
                    <a:lnTo>
                      <a:pt x="150" y="388"/>
                    </a:lnTo>
                    <a:lnTo>
                      <a:pt x="142" y="460"/>
                    </a:lnTo>
                    <a:lnTo>
                      <a:pt x="142" y="460"/>
                    </a:lnTo>
                    <a:lnTo>
                      <a:pt x="128" y="620"/>
                    </a:lnTo>
                    <a:lnTo>
                      <a:pt x="128" y="620"/>
                    </a:lnTo>
                    <a:lnTo>
                      <a:pt x="130" y="626"/>
                    </a:lnTo>
                    <a:lnTo>
                      <a:pt x="130" y="632"/>
                    </a:lnTo>
                    <a:lnTo>
                      <a:pt x="136" y="642"/>
                    </a:lnTo>
                    <a:lnTo>
                      <a:pt x="144" y="648"/>
                    </a:lnTo>
                    <a:lnTo>
                      <a:pt x="150" y="650"/>
                    </a:lnTo>
                    <a:lnTo>
                      <a:pt x="156" y="652"/>
                    </a:lnTo>
                    <a:lnTo>
                      <a:pt x="156" y="652"/>
                    </a:lnTo>
                    <a:lnTo>
                      <a:pt x="162" y="652"/>
                    </a:lnTo>
                    <a:lnTo>
                      <a:pt x="168" y="650"/>
                    </a:lnTo>
                    <a:lnTo>
                      <a:pt x="178" y="646"/>
                    </a:lnTo>
                    <a:lnTo>
                      <a:pt x="184" y="636"/>
                    </a:lnTo>
                    <a:lnTo>
                      <a:pt x="186" y="630"/>
                    </a:lnTo>
                    <a:lnTo>
                      <a:pt x="188" y="624"/>
                    </a:lnTo>
                    <a:lnTo>
                      <a:pt x="202" y="464"/>
                    </a:lnTo>
                    <a:lnTo>
                      <a:pt x="208" y="388"/>
                    </a:lnTo>
                    <a:lnTo>
                      <a:pt x="282" y="388"/>
                    </a:lnTo>
                    <a:lnTo>
                      <a:pt x="282" y="388"/>
                    </a:lnTo>
                    <a:lnTo>
                      <a:pt x="278" y="298"/>
                    </a:lnTo>
                    <a:lnTo>
                      <a:pt x="278" y="298"/>
                    </a:lnTo>
                    <a:close/>
                    <a:moveTo>
                      <a:pt x="66" y="112"/>
                    </a:moveTo>
                    <a:lnTo>
                      <a:pt x="114" y="66"/>
                    </a:lnTo>
                    <a:lnTo>
                      <a:pt x="136" y="164"/>
                    </a:lnTo>
                    <a:lnTo>
                      <a:pt x="136" y="164"/>
                    </a:lnTo>
                    <a:lnTo>
                      <a:pt x="130" y="158"/>
                    </a:lnTo>
                    <a:lnTo>
                      <a:pt x="66" y="1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kern="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4" name="Freeform 11"/>
              <p:cNvSpPr>
                <a:spLocks/>
              </p:cNvSpPr>
              <p:nvPr/>
            </p:nvSpPr>
            <p:spPr bwMode="gray">
              <a:xfrm>
                <a:off x="877888" y="1630363"/>
                <a:ext cx="206375" cy="206375"/>
              </a:xfrm>
              <a:custGeom>
                <a:avLst/>
                <a:gdLst>
                  <a:gd name="T0" fmla="*/ 64 w 130"/>
                  <a:gd name="T1" fmla="*/ 0 h 130"/>
                  <a:gd name="T2" fmla="*/ 64 w 130"/>
                  <a:gd name="T3" fmla="*/ 0 h 130"/>
                  <a:gd name="T4" fmla="*/ 78 w 130"/>
                  <a:gd name="T5" fmla="*/ 2 h 130"/>
                  <a:gd name="T6" fmla="*/ 90 w 130"/>
                  <a:gd name="T7" fmla="*/ 6 h 130"/>
                  <a:gd name="T8" fmla="*/ 102 w 130"/>
                  <a:gd name="T9" fmla="*/ 12 h 130"/>
                  <a:gd name="T10" fmla="*/ 110 w 130"/>
                  <a:gd name="T11" fmla="*/ 20 h 130"/>
                  <a:gd name="T12" fmla="*/ 118 w 130"/>
                  <a:gd name="T13" fmla="*/ 28 h 130"/>
                  <a:gd name="T14" fmla="*/ 124 w 130"/>
                  <a:gd name="T15" fmla="*/ 40 h 130"/>
                  <a:gd name="T16" fmla="*/ 128 w 130"/>
                  <a:gd name="T17" fmla="*/ 52 h 130"/>
                  <a:gd name="T18" fmla="*/ 130 w 130"/>
                  <a:gd name="T19" fmla="*/ 66 h 130"/>
                  <a:gd name="T20" fmla="*/ 130 w 130"/>
                  <a:gd name="T21" fmla="*/ 66 h 130"/>
                  <a:gd name="T22" fmla="*/ 128 w 130"/>
                  <a:gd name="T23" fmla="*/ 78 h 130"/>
                  <a:gd name="T24" fmla="*/ 124 w 130"/>
                  <a:gd name="T25" fmla="*/ 90 h 130"/>
                  <a:gd name="T26" fmla="*/ 118 w 130"/>
                  <a:gd name="T27" fmla="*/ 102 h 130"/>
                  <a:gd name="T28" fmla="*/ 110 w 130"/>
                  <a:gd name="T29" fmla="*/ 112 h 130"/>
                  <a:gd name="T30" fmla="*/ 102 w 130"/>
                  <a:gd name="T31" fmla="*/ 120 h 130"/>
                  <a:gd name="T32" fmla="*/ 90 w 130"/>
                  <a:gd name="T33" fmla="*/ 126 h 130"/>
                  <a:gd name="T34" fmla="*/ 78 w 130"/>
                  <a:gd name="T35" fmla="*/ 130 h 130"/>
                  <a:gd name="T36" fmla="*/ 64 w 130"/>
                  <a:gd name="T37" fmla="*/ 130 h 130"/>
                  <a:gd name="T38" fmla="*/ 64 w 130"/>
                  <a:gd name="T39" fmla="*/ 130 h 130"/>
                  <a:gd name="T40" fmla="*/ 52 w 130"/>
                  <a:gd name="T41" fmla="*/ 130 h 130"/>
                  <a:gd name="T42" fmla="*/ 40 w 130"/>
                  <a:gd name="T43" fmla="*/ 126 h 130"/>
                  <a:gd name="T44" fmla="*/ 28 w 130"/>
                  <a:gd name="T45" fmla="*/ 120 h 130"/>
                  <a:gd name="T46" fmla="*/ 18 w 130"/>
                  <a:gd name="T47" fmla="*/ 112 h 130"/>
                  <a:gd name="T48" fmla="*/ 10 w 130"/>
                  <a:gd name="T49" fmla="*/ 102 h 130"/>
                  <a:gd name="T50" fmla="*/ 4 w 130"/>
                  <a:gd name="T51" fmla="*/ 90 h 130"/>
                  <a:gd name="T52" fmla="*/ 0 w 130"/>
                  <a:gd name="T53" fmla="*/ 78 h 130"/>
                  <a:gd name="T54" fmla="*/ 0 w 130"/>
                  <a:gd name="T55" fmla="*/ 66 h 130"/>
                  <a:gd name="T56" fmla="*/ 0 w 130"/>
                  <a:gd name="T57" fmla="*/ 66 h 130"/>
                  <a:gd name="T58" fmla="*/ 0 w 130"/>
                  <a:gd name="T59" fmla="*/ 52 h 130"/>
                  <a:gd name="T60" fmla="*/ 4 w 130"/>
                  <a:gd name="T61" fmla="*/ 40 h 130"/>
                  <a:gd name="T62" fmla="*/ 10 w 130"/>
                  <a:gd name="T63" fmla="*/ 28 h 130"/>
                  <a:gd name="T64" fmla="*/ 18 w 130"/>
                  <a:gd name="T65" fmla="*/ 20 h 130"/>
                  <a:gd name="T66" fmla="*/ 28 w 130"/>
                  <a:gd name="T67" fmla="*/ 12 h 130"/>
                  <a:gd name="T68" fmla="*/ 40 w 130"/>
                  <a:gd name="T69" fmla="*/ 6 h 130"/>
                  <a:gd name="T70" fmla="*/ 52 w 130"/>
                  <a:gd name="T71" fmla="*/ 2 h 130"/>
                  <a:gd name="T72" fmla="*/ 64 w 130"/>
                  <a:gd name="T73" fmla="*/ 0 h 130"/>
                  <a:gd name="T74" fmla="*/ 64 w 130"/>
                  <a:gd name="T75" fmla="*/ 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30" h="130">
                    <a:moveTo>
                      <a:pt x="64" y="0"/>
                    </a:moveTo>
                    <a:lnTo>
                      <a:pt x="64" y="0"/>
                    </a:lnTo>
                    <a:lnTo>
                      <a:pt x="78" y="2"/>
                    </a:lnTo>
                    <a:lnTo>
                      <a:pt x="90" y="6"/>
                    </a:lnTo>
                    <a:lnTo>
                      <a:pt x="102" y="12"/>
                    </a:lnTo>
                    <a:lnTo>
                      <a:pt x="110" y="20"/>
                    </a:lnTo>
                    <a:lnTo>
                      <a:pt x="118" y="28"/>
                    </a:lnTo>
                    <a:lnTo>
                      <a:pt x="124" y="40"/>
                    </a:lnTo>
                    <a:lnTo>
                      <a:pt x="128" y="52"/>
                    </a:lnTo>
                    <a:lnTo>
                      <a:pt x="130" y="66"/>
                    </a:lnTo>
                    <a:lnTo>
                      <a:pt x="130" y="66"/>
                    </a:lnTo>
                    <a:lnTo>
                      <a:pt x="128" y="78"/>
                    </a:lnTo>
                    <a:lnTo>
                      <a:pt x="124" y="90"/>
                    </a:lnTo>
                    <a:lnTo>
                      <a:pt x="118" y="102"/>
                    </a:lnTo>
                    <a:lnTo>
                      <a:pt x="110" y="112"/>
                    </a:lnTo>
                    <a:lnTo>
                      <a:pt x="102" y="120"/>
                    </a:lnTo>
                    <a:lnTo>
                      <a:pt x="90" y="126"/>
                    </a:lnTo>
                    <a:lnTo>
                      <a:pt x="78" y="130"/>
                    </a:lnTo>
                    <a:lnTo>
                      <a:pt x="64" y="130"/>
                    </a:lnTo>
                    <a:lnTo>
                      <a:pt x="64" y="130"/>
                    </a:lnTo>
                    <a:lnTo>
                      <a:pt x="52" y="130"/>
                    </a:lnTo>
                    <a:lnTo>
                      <a:pt x="40" y="126"/>
                    </a:lnTo>
                    <a:lnTo>
                      <a:pt x="28" y="120"/>
                    </a:lnTo>
                    <a:lnTo>
                      <a:pt x="18" y="112"/>
                    </a:lnTo>
                    <a:lnTo>
                      <a:pt x="10" y="102"/>
                    </a:lnTo>
                    <a:lnTo>
                      <a:pt x="4" y="90"/>
                    </a:lnTo>
                    <a:lnTo>
                      <a:pt x="0" y="78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52"/>
                    </a:lnTo>
                    <a:lnTo>
                      <a:pt x="4" y="40"/>
                    </a:lnTo>
                    <a:lnTo>
                      <a:pt x="10" y="28"/>
                    </a:lnTo>
                    <a:lnTo>
                      <a:pt x="18" y="20"/>
                    </a:lnTo>
                    <a:lnTo>
                      <a:pt x="28" y="12"/>
                    </a:lnTo>
                    <a:lnTo>
                      <a:pt x="40" y="6"/>
                    </a:lnTo>
                    <a:lnTo>
                      <a:pt x="52" y="2"/>
                    </a:lnTo>
                    <a:lnTo>
                      <a:pt x="64" y="0"/>
                    </a:lnTo>
                    <a:lnTo>
                      <a:pt x="64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kern="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15" name="Oval 14"/>
          <p:cNvSpPr/>
          <p:nvPr/>
        </p:nvSpPr>
        <p:spPr bwMode="gray">
          <a:xfrm>
            <a:off x="143469" y="2745385"/>
            <a:ext cx="563790" cy="780980"/>
          </a:xfrm>
          <a:prstGeom prst="ellipse">
            <a:avLst/>
          </a:prstGeom>
          <a:solidFill>
            <a:srgbClr val="1B365D"/>
          </a:solidFill>
          <a:ln w="190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731" tIns="46648" rIns="36731" bIns="46648" anchor="ctr">
            <a:noAutofit/>
          </a:bodyPr>
          <a:lstStyle/>
          <a:p>
            <a:pPr>
              <a:defRPr/>
            </a:pPr>
            <a:endParaRPr lang="en-US" sz="1200" kern="0" dirty="0">
              <a:solidFill>
                <a:prstClr val="black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6" name="Group 15"/>
          <p:cNvGrpSpPr/>
          <p:nvPr/>
        </p:nvGrpSpPr>
        <p:grpSpPr bwMode="gray">
          <a:xfrm>
            <a:off x="217509" y="1042522"/>
            <a:ext cx="210623" cy="501484"/>
            <a:chOff x="634348" y="2705229"/>
            <a:chExt cx="227532" cy="541741"/>
          </a:xfrm>
          <a:solidFill>
            <a:srgbClr val="7C2529"/>
          </a:solidFill>
        </p:grpSpPr>
        <p:sp>
          <p:nvSpPr>
            <p:cNvPr id="17" name="Oval 95726"/>
            <p:cNvSpPr>
              <a:spLocks noChangeArrowheads="1"/>
            </p:cNvSpPr>
            <p:nvPr/>
          </p:nvSpPr>
          <p:spPr bwMode="gray">
            <a:xfrm>
              <a:off x="699356" y="2705229"/>
              <a:ext cx="97514" cy="9751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CR" kern="0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95727"/>
            <p:cNvSpPr>
              <a:spLocks/>
            </p:cNvSpPr>
            <p:nvPr/>
          </p:nvSpPr>
          <p:spPr bwMode="gray">
            <a:xfrm>
              <a:off x="634348" y="2813576"/>
              <a:ext cx="227532" cy="433394"/>
            </a:xfrm>
            <a:custGeom>
              <a:avLst/>
              <a:gdLst>
                <a:gd name="T0" fmla="*/ 49 w 49"/>
                <a:gd name="T1" fmla="*/ 11 h 92"/>
                <a:gd name="T2" fmla="*/ 35 w 49"/>
                <a:gd name="T3" fmla="*/ 0 h 92"/>
                <a:gd name="T4" fmla="*/ 15 w 49"/>
                <a:gd name="T5" fmla="*/ 0 h 92"/>
                <a:gd name="T6" fmla="*/ 0 w 49"/>
                <a:gd name="T7" fmla="*/ 11 h 92"/>
                <a:gd name="T8" fmla="*/ 0 w 49"/>
                <a:gd name="T9" fmla="*/ 36 h 92"/>
                <a:gd name="T10" fmla="*/ 0 w 49"/>
                <a:gd name="T11" fmla="*/ 36 h 92"/>
                <a:gd name="T12" fmla="*/ 0 w 49"/>
                <a:gd name="T13" fmla="*/ 36 h 92"/>
                <a:gd name="T14" fmla="*/ 5 w 49"/>
                <a:gd name="T15" fmla="*/ 41 h 92"/>
                <a:gd name="T16" fmla="*/ 9 w 49"/>
                <a:gd name="T17" fmla="*/ 36 h 92"/>
                <a:gd name="T18" fmla="*/ 9 w 49"/>
                <a:gd name="T19" fmla="*/ 36 h 92"/>
                <a:gd name="T20" fmla="*/ 9 w 49"/>
                <a:gd name="T21" fmla="*/ 36 h 92"/>
                <a:gd name="T22" fmla="*/ 9 w 49"/>
                <a:gd name="T23" fmla="*/ 13 h 92"/>
                <a:gd name="T24" fmla="*/ 12 w 49"/>
                <a:gd name="T25" fmla="*/ 13 h 92"/>
                <a:gd name="T26" fmla="*/ 12 w 49"/>
                <a:gd name="T27" fmla="*/ 87 h 92"/>
                <a:gd name="T28" fmla="*/ 18 w 49"/>
                <a:gd name="T29" fmla="*/ 92 h 92"/>
                <a:gd name="T30" fmla="*/ 23 w 49"/>
                <a:gd name="T31" fmla="*/ 87 h 92"/>
                <a:gd name="T32" fmla="*/ 23 w 49"/>
                <a:gd name="T33" fmla="*/ 39 h 92"/>
                <a:gd name="T34" fmla="*/ 26 w 49"/>
                <a:gd name="T35" fmla="*/ 39 h 92"/>
                <a:gd name="T36" fmla="*/ 26 w 49"/>
                <a:gd name="T37" fmla="*/ 87 h 92"/>
                <a:gd name="T38" fmla="*/ 26 w 49"/>
                <a:gd name="T39" fmla="*/ 87 h 92"/>
                <a:gd name="T40" fmla="*/ 32 w 49"/>
                <a:gd name="T41" fmla="*/ 92 h 92"/>
                <a:gd name="T42" fmla="*/ 38 w 49"/>
                <a:gd name="T43" fmla="*/ 87 h 92"/>
                <a:gd name="T44" fmla="*/ 38 w 49"/>
                <a:gd name="T45" fmla="*/ 13 h 92"/>
                <a:gd name="T46" fmla="*/ 41 w 49"/>
                <a:gd name="T47" fmla="*/ 13 h 92"/>
                <a:gd name="T48" fmla="*/ 41 w 49"/>
                <a:gd name="T49" fmla="*/ 36 h 92"/>
                <a:gd name="T50" fmla="*/ 41 w 49"/>
                <a:gd name="T51" fmla="*/ 36 h 92"/>
                <a:gd name="T52" fmla="*/ 41 w 49"/>
                <a:gd name="T53" fmla="*/ 36 h 92"/>
                <a:gd name="T54" fmla="*/ 45 w 49"/>
                <a:gd name="T55" fmla="*/ 41 h 92"/>
                <a:gd name="T56" fmla="*/ 49 w 49"/>
                <a:gd name="T57" fmla="*/ 36 h 92"/>
                <a:gd name="T58" fmla="*/ 49 w 49"/>
                <a:gd name="T59" fmla="*/ 36 h 92"/>
                <a:gd name="T60" fmla="*/ 49 w 49"/>
                <a:gd name="T61" fmla="*/ 11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9" h="92">
                  <a:moveTo>
                    <a:pt x="49" y="11"/>
                  </a:moveTo>
                  <a:cubicBezTo>
                    <a:pt x="48" y="0"/>
                    <a:pt x="35" y="0"/>
                    <a:pt x="3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11"/>
                    <a:pt x="0" y="11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9"/>
                    <a:pt x="2" y="41"/>
                    <a:pt x="5" y="41"/>
                  </a:cubicBezTo>
                  <a:cubicBezTo>
                    <a:pt x="7" y="41"/>
                    <a:pt x="9" y="39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87"/>
                    <a:pt x="12" y="87"/>
                    <a:pt x="12" y="87"/>
                  </a:cubicBezTo>
                  <a:cubicBezTo>
                    <a:pt x="12" y="90"/>
                    <a:pt x="14" y="92"/>
                    <a:pt x="18" y="92"/>
                  </a:cubicBezTo>
                  <a:cubicBezTo>
                    <a:pt x="21" y="92"/>
                    <a:pt x="23" y="90"/>
                    <a:pt x="23" y="87"/>
                  </a:cubicBezTo>
                  <a:cubicBezTo>
                    <a:pt x="23" y="39"/>
                    <a:pt x="23" y="39"/>
                    <a:pt x="23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87"/>
                    <a:pt x="26" y="87"/>
                    <a:pt x="26" y="87"/>
                  </a:cubicBezTo>
                  <a:cubicBezTo>
                    <a:pt x="26" y="87"/>
                    <a:pt x="26" y="87"/>
                    <a:pt x="26" y="87"/>
                  </a:cubicBezTo>
                  <a:cubicBezTo>
                    <a:pt x="26" y="90"/>
                    <a:pt x="29" y="92"/>
                    <a:pt x="32" y="92"/>
                  </a:cubicBezTo>
                  <a:cubicBezTo>
                    <a:pt x="35" y="92"/>
                    <a:pt x="38" y="90"/>
                    <a:pt x="38" y="87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1" y="39"/>
                    <a:pt x="43" y="41"/>
                    <a:pt x="45" y="41"/>
                  </a:cubicBezTo>
                  <a:cubicBezTo>
                    <a:pt x="47" y="41"/>
                    <a:pt x="49" y="39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lnTo>
                    <a:pt x="49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CR" kern="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9" name="Group 18"/>
          <p:cNvGrpSpPr/>
          <p:nvPr/>
        </p:nvGrpSpPr>
        <p:grpSpPr bwMode="gray">
          <a:xfrm>
            <a:off x="487359" y="1042522"/>
            <a:ext cx="202300" cy="501484"/>
            <a:chOff x="-1115175" y="2195853"/>
            <a:chExt cx="176961" cy="438671"/>
          </a:xfrm>
          <a:solidFill>
            <a:srgbClr val="7C2529"/>
          </a:solidFill>
        </p:grpSpPr>
        <p:sp>
          <p:nvSpPr>
            <p:cNvPr id="20" name="Oval 95774"/>
            <p:cNvSpPr>
              <a:spLocks noChangeArrowheads="1"/>
            </p:cNvSpPr>
            <p:nvPr/>
          </p:nvSpPr>
          <p:spPr bwMode="gray">
            <a:xfrm>
              <a:off x="-1061789" y="2195853"/>
              <a:ext cx="70188" cy="7018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CR" kern="0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95775"/>
            <p:cNvSpPr>
              <a:spLocks/>
            </p:cNvSpPr>
            <p:nvPr/>
          </p:nvSpPr>
          <p:spPr bwMode="gray">
            <a:xfrm>
              <a:off x="-1115175" y="2283586"/>
              <a:ext cx="176961" cy="350938"/>
            </a:xfrm>
            <a:custGeom>
              <a:avLst/>
              <a:gdLst>
                <a:gd name="T0" fmla="*/ 57 w 65"/>
                <a:gd name="T1" fmla="*/ 11 h 92"/>
                <a:gd name="T2" fmla="*/ 39 w 65"/>
                <a:gd name="T3" fmla="*/ 0 h 92"/>
                <a:gd name="T4" fmla="*/ 26 w 65"/>
                <a:gd name="T5" fmla="*/ 0 h 92"/>
                <a:gd name="T6" fmla="*/ 8 w 65"/>
                <a:gd name="T7" fmla="*/ 11 h 92"/>
                <a:gd name="T8" fmla="*/ 0 w 65"/>
                <a:gd name="T9" fmla="*/ 36 h 92"/>
                <a:gd name="T10" fmla="*/ 0 w 65"/>
                <a:gd name="T11" fmla="*/ 36 h 92"/>
                <a:gd name="T12" fmla="*/ 0 w 65"/>
                <a:gd name="T13" fmla="*/ 36 h 92"/>
                <a:gd name="T14" fmla="*/ 4 w 65"/>
                <a:gd name="T15" fmla="*/ 41 h 92"/>
                <a:gd name="T16" fmla="*/ 8 w 65"/>
                <a:gd name="T17" fmla="*/ 36 h 92"/>
                <a:gd name="T18" fmla="*/ 8 w 65"/>
                <a:gd name="T19" fmla="*/ 36 h 92"/>
                <a:gd name="T20" fmla="*/ 8 w 65"/>
                <a:gd name="T21" fmla="*/ 36 h 92"/>
                <a:gd name="T22" fmla="*/ 17 w 65"/>
                <a:gd name="T23" fmla="*/ 13 h 92"/>
                <a:gd name="T24" fmla="*/ 19 w 65"/>
                <a:gd name="T25" fmla="*/ 13 h 92"/>
                <a:gd name="T26" fmla="*/ 6 w 65"/>
                <a:gd name="T27" fmla="*/ 53 h 92"/>
                <a:gd name="T28" fmla="*/ 19 w 65"/>
                <a:gd name="T29" fmla="*/ 53 h 92"/>
                <a:gd name="T30" fmla="*/ 19 w 65"/>
                <a:gd name="T31" fmla="*/ 86 h 92"/>
                <a:gd name="T32" fmla="*/ 25 w 65"/>
                <a:gd name="T33" fmla="*/ 92 h 92"/>
                <a:gd name="T34" fmla="*/ 31 w 65"/>
                <a:gd name="T35" fmla="*/ 86 h 92"/>
                <a:gd name="T36" fmla="*/ 31 w 65"/>
                <a:gd name="T37" fmla="*/ 53 h 92"/>
                <a:gd name="T38" fmla="*/ 34 w 65"/>
                <a:gd name="T39" fmla="*/ 53 h 92"/>
                <a:gd name="T40" fmla="*/ 34 w 65"/>
                <a:gd name="T41" fmla="*/ 86 h 92"/>
                <a:gd name="T42" fmla="*/ 34 w 65"/>
                <a:gd name="T43" fmla="*/ 86 h 92"/>
                <a:gd name="T44" fmla="*/ 40 w 65"/>
                <a:gd name="T45" fmla="*/ 92 h 92"/>
                <a:gd name="T46" fmla="*/ 45 w 65"/>
                <a:gd name="T47" fmla="*/ 86 h 92"/>
                <a:gd name="T48" fmla="*/ 45 w 65"/>
                <a:gd name="T49" fmla="*/ 53 h 92"/>
                <a:gd name="T50" fmla="*/ 59 w 65"/>
                <a:gd name="T51" fmla="*/ 53 h 92"/>
                <a:gd name="T52" fmla="*/ 45 w 65"/>
                <a:gd name="T53" fmla="*/ 13 h 92"/>
                <a:gd name="T54" fmla="*/ 48 w 65"/>
                <a:gd name="T55" fmla="*/ 13 h 92"/>
                <a:gd name="T56" fmla="*/ 56 w 65"/>
                <a:gd name="T57" fmla="*/ 36 h 92"/>
                <a:gd name="T58" fmla="*/ 56 w 65"/>
                <a:gd name="T59" fmla="*/ 36 h 92"/>
                <a:gd name="T60" fmla="*/ 56 w 65"/>
                <a:gd name="T61" fmla="*/ 36 h 92"/>
                <a:gd name="T62" fmla="*/ 61 w 65"/>
                <a:gd name="T63" fmla="*/ 40 h 92"/>
                <a:gd name="T64" fmla="*/ 65 w 65"/>
                <a:gd name="T65" fmla="*/ 36 h 92"/>
                <a:gd name="T66" fmla="*/ 65 w 65"/>
                <a:gd name="T67" fmla="*/ 36 h 92"/>
                <a:gd name="T68" fmla="*/ 57 w 65"/>
                <a:gd name="T69" fmla="*/ 11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5" h="92">
                  <a:moveTo>
                    <a:pt x="57" y="11"/>
                  </a:moveTo>
                  <a:cubicBezTo>
                    <a:pt x="56" y="0"/>
                    <a:pt x="39" y="0"/>
                    <a:pt x="39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2" y="0"/>
                    <a:pt x="8" y="11"/>
                    <a:pt x="8" y="11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9"/>
                    <a:pt x="2" y="41"/>
                    <a:pt x="4" y="41"/>
                  </a:cubicBezTo>
                  <a:cubicBezTo>
                    <a:pt x="6" y="41"/>
                    <a:pt x="8" y="39"/>
                    <a:pt x="8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19" y="53"/>
                    <a:pt x="19" y="53"/>
                    <a:pt x="19" y="53"/>
                  </a:cubicBezTo>
                  <a:cubicBezTo>
                    <a:pt x="19" y="86"/>
                    <a:pt x="19" y="86"/>
                    <a:pt x="19" y="86"/>
                  </a:cubicBezTo>
                  <a:cubicBezTo>
                    <a:pt x="19" y="89"/>
                    <a:pt x="22" y="92"/>
                    <a:pt x="25" y="92"/>
                  </a:cubicBezTo>
                  <a:cubicBezTo>
                    <a:pt x="28" y="92"/>
                    <a:pt x="31" y="89"/>
                    <a:pt x="31" y="86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86"/>
                    <a:pt x="34" y="86"/>
                    <a:pt x="34" y="86"/>
                  </a:cubicBezTo>
                  <a:cubicBezTo>
                    <a:pt x="34" y="86"/>
                    <a:pt x="34" y="86"/>
                    <a:pt x="34" y="86"/>
                  </a:cubicBezTo>
                  <a:cubicBezTo>
                    <a:pt x="34" y="89"/>
                    <a:pt x="36" y="92"/>
                    <a:pt x="40" y="92"/>
                  </a:cubicBezTo>
                  <a:cubicBezTo>
                    <a:pt x="43" y="92"/>
                    <a:pt x="45" y="89"/>
                    <a:pt x="45" y="86"/>
                  </a:cubicBezTo>
                  <a:cubicBezTo>
                    <a:pt x="45" y="53"/>
                    <a:pt x="45" y="53"/>
                    <a:pt x="45" y="53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45" y="13"/>
                    <a:pt x="45" y="13"/>
                    <a:pt x="45" y="13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8"/>
                    <a:pt x="58" y="40"/>
                    <a:pt x="61" y="40"/>
                  </a:cubicBezTo>
                  <a:cubicBezTo>
                    <a:pt x="63" y="40"/>
                    <a:pt x="65" y="38"/>
                    <a:pt x="65" y="36"/>
                  </a:cubicBezTo>
                  <a:cubicBezTo>
                    <a:pt x="65" y="36"/>
                    <a:pt x="65" y="36"/>
                    <a:pt x="65" y="36"/>
                  </a:cubicBezTo>
                  <a:lnTo>
                    <a:pt x="57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CR" kern="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22" name="Group 21"/>
          <p:cNvGrpSpPr/>
          <p:nvPr/>
        </p:nvGrpSpPr>
        <p:grpSpPr bwMode="gray">
          <a:xfrm>
            <a:off x="958557" y="1042522"/>
            <a:ext cx="202300" cy="501484"/>
            <a:chOff x="-1115175" y="2195853"/>
            <a:chExt cx="176961" cy="438671"/>
          </a:xfrm>
          <a:solidFill>
            <a:srgbClr val="7C2529"/>
          </a:solidFill>
        </p:grpSpPr>
        <p:sp>
          <p:nvSpPr>
            <p:cNvPr id="23" name="Oval 95774"/>
            <p:cNvSpPr>
              <a:spLocks noChangeArrowheads="1"/>
            </p:cNvSpPr>
            <p:nvPr/>
          </p:nvSpPr>
          <p:spPr bwMode="gray">
            <a:xfrm>
              <a:off x="-1061789" y="2195853"/>
              <a:ext cx="70188" cy="7018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CR" kern="0" dirty="0">
                <a:solidFill>
                  <a:prstClr val="black"/>
                </a:solidFill>
              </a:endParaRPr>
            </a:p>
          </p:txBody>
        </p:sp>
        <p:sp>
          <p:nvSpPr>
            <p:cNvPr id="24" name="Freeform 95775"/>
            <p:cNvSpPr>
              <a:spLocks/>
            </p:cNvSpPr>
            <p:nvPr/>
          </p:nvSpPr>
          <p:spPr bwMode="gray">
            <a:xfrm>
              <a:off x="-1115175" y="2283586"/>
              <a:ext cx="176961" cy="350938"/>
            </a:xfrm>
            <a:custGeom>
              <a:avLst/>
              <a:gdLst>
                <a:gd name="T0" fmla="*/ 57 w 65"/>
                <a:gd name="T1" fmla="*/ 11 h 92"/>
                <a:gd name="T2" fmla="*/ 39 w 65"/>
                <a:gd name="T3" fmla="*/ 0 h 92"/>
                <a:gd name="T4" fmla="*/ 26 w 65"/>
                <a:gd name="T5" fmla="*/ 0 h 92"/>
                <a:gd name="T6" fmla="*/ 8 w 65"/>
                <a:gd name="T7" fmla="*/ 11 h 92"/>
                <a:gd name="T8" fmla="*/ 0 w 65"/>
                <a:gd name="T9" fmla="*/ 36 h 92"/>
                <a:gd name="T10" fmla="*/ 0 w 65"/>
                <a:gd name="T11" fmla="*/ 36 h 92"/>
                <a:gd name="T12" fmla="*/ 0 w 65"/>
                <a:gd name="T13" fmla="*/ 36 h 92"/>
                <a:gd name="T14" fmla="*/ 4 w 65"/>
                <a:gd name="T15" fmla="*/ 41 h 92"/>
                <a:gd name="T16" fmla="*/ 8 w 65"/>
                <a:gd name="T17" fmla="*/ 36 h 92"/>
                <a:gd name="T18" fmla="*/ 8 w 65"/>
                <a:gd name="T19" fmla="*/ 36 h 92"/>
                <a:gd name="T20" fmla="*/ 8 w 65"/>
                <a:gd name="T21" fmla="*/ 36 h 92"/>
                <a:gd name="T22" fmla="*/ 17 w 65"/>
                <a:gd name="T23" fmla="*/ 13 h 92"/>
                <a:gd name="T24" fmla="*/ 19 w 65"/>
                <a:gd name="T25" fmla="*/ 13 h 92"/>
                <a:gd name="T26" fmla="*/ 6 w 65"/>
                <a:gd name="T27" fmla="*/ 53 h 92"/>
                <a:gd name="T28" fmla="*/ 19 w 65"/>
                <a:gd name="T29" fmla="*/ 53 h 92"/>
                <a:gd name="T30" fmla="*/ 19 w 65"/>
                <a:gd name="T31" fmla="*/ 86 h 92"/>
                <a:gd name="T32" fmla="*/ 25 w 65"/>
                <a:gd name="T33" fmla="*/ 92 h 92"/>
                <a:gd name="T34" fmla="*/ 31 w 65"/>
                <a:gd name="T35" fmla="*/ 86 h 92"/>
                <a:gd name="T36" fmla="*/ 31 w 65"/>
                <a:gd name="T37" fmla="*/ 53 h 92"/>
                <a:gd name="T38" fmla="*/ 34 w 65"/>
                <a:gd name="T39" fmla="*/ 53 h 92"/>
                <a:gd name="T40" fmla="*/ 34 w 65"/>
                <a:gd name="T41" fmla="*/ 86 h 92"/>
                <a:gd name="T42" fmla="*/ 34 w 65"/>
                <a:gd name="T43" fmla="*/ 86 h 92"/>
                <a:gd name="T44" fmla="*/ 40 w 65"/>
                <a:gd name="T45" fmla="*/ 92 h 92"/>
                <a:gd name="T46" fmla="*/ 45 w 65"/>
                <a:gd name="T47" fmla="*/ 86 h 92"/>
                <a:gd name="T48" fmla="*/ 45 w 65"/>
                <a:gd name="T49" fmla="*/ 53 h 92"/>
                <a:gd name="T50" fmla="*/ 59 w 65"/>
                <a:gd name="T51" fmla="*/ 53 h 92"/>
                <a:gd name="T52" fmla="*/ 45 w 65"/>
                <a:gd name="T53" fmla="*/ 13 h 92"/>
                <a:gd name="T54" fmla="*/ 48 w 65"/>
                <a:gd name="T55" fmla="*/ 13 h 92"/>
                <a:gd name="T56" fmla="*/ 56 w 65"/>
                <a:gd name="T57" fmla="*/ 36 h 92"/>
                <a:gd name="T58" fmla="*/ 56 w 65"/>
                <a:gd name="T59" fmla="*/ 36 h 92"/>
                <a:gd name="T60" fmla="*/ 56 w 65"/>
                <a:gd name="T61" fmla="*/ 36 h 92"/>
                <a:gd name="T62" fmla="*/ 61 w 65"/>
                <a:gd name="T63" fmla="*/ 40 h 92"/>
                <a:gd name="T64" fmla="*/ 65 w 65"/>
                <a:gd name="T65" fmla="*/ 36 h 92"/>
                <a:gd name="T66" fmla="*/ 65 w 65"/>
                <a:gd name="T67" fmla="*/ 36 h 92"/>
                <a:gd name="T68" fmla="*/ 57 w 65"/>
                <a:gd name="T69" fmla="*/ 11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5" h="92">
                  <a:moveTo>
                    <a:pt x="57" y="11"/>
                  </a:moveTo>
                  <a:cubicBezTo>
                    <a:pt x="56" y="0"/>
                    <a:pt x="39" y="0"/>
                    <a:pt x="39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2" y="0"/>
                    <a:pt x="8" y="11"/>
                    <a:pt x="8" y="11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9"/>
                    <a:pt x="2" y="41"/>
                    <a:pt x="4" y="41"/>
                  </a:cubicBezTo>
                  <a:cubicBezTo>
                    <a:pt x="6" y="41"/>
                    <a:pt x="8" y="39"/>
                    <a:pt x="8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19" y="53"/>
                    <a:pt x="19" y="53"/>
                    <a:pt x="19" y="53"/>
                  </a:cubicBezTo>
                  <a:cubicBezTo>
                    <a:pt x="19" y="86"/>
                    <a:pt x="19" y="86"/>
                    <a:pt x="19" y="86"/>
                  </a:cubicBezTo>
                  <a:cubicBezTo>
                    <a:pt x="19" y="89"/>
                    <a:pt x="22" y="92"/>
                    <a:pt x="25" y="92"/>
                  </a:cubicBezTo>
                  <a:cubicBezTo>
                    <a:pt x="28" y="92"/>
                    <a:pt x="31" y="89"/>
                    <a:pt x="31" y="86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86"/>
                    <a:pt x="34" y="86"/>
                    <a:pt x="34" y="86"/>
                  </a:cubicBezTo>
                  <a:cubicBezTo>
                    <a:pt x="34" y="86"/>
                    <a:pt x="34" y="86"/>
                    <a:pt x="34" y="86"/>
                  </a:cubicBezTo>
                  <a:cubicBezTo>
                    <a:pt x="34" y="89"/>
                    <a:pt x="36" y="92"/>
                    <a:pt x="40" y="92"/>
                  </a:cubicBezTo>
                  <a:cubicBezTo>
                    <a:pt x="43" y="92"/>
                    <a:pt x="45" y="89"/>
                    <a:pt x="45" y="86"/>
                  </a:cubicBezTo>
                  <a:cubicBezTo>
                    <a:pt x="45" y="53"/>
                    <a:pt x="45" y="53"/>
                    <a:pt x="45" y="53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45" y="13"/>
                    <a:pt x="45" y="13"/>
                    <a:pt x="45" y="13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8"/>
                    <a:pt x="58" y="40"/>
                    <a:pt x="61" y="40"/>
                  </a:cubicBezTo>
                  <a:cubicBezTo>
                    <a:pt x="63" y="40"/>
                    <a:pt x="65" y="38"/>
                    <a:pt x="65" y="36"/>
                  </a:cubicBezTo>
                  <a:cubicBezTo>
                    <a:pt x="65" y="36"/>
                    <a:pt x="65" y="36"/>
                    <a:pt x="65" y="36"/>
                  </a:cubicBezTo>
                  <a:lnTo>
                    <a:pt x="57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CR" kern="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25" name="Group 24"/>
          <p:cNvGrpSpPr/>
          <p:nvPr/>
        </p:nvGrpSpPr>
        <p:grpSpPr bwMode="gray">
          <a:xfrm>
            <a:off x="1220084" y="1042522"/>
            <a:ext cx="210623" cy="501484"/>
            <a:chOff x="634348" y="2705229"/>
            <a:chExt cx="227532" cy="541741"/>
          </a:xfrm>
          <a:solidFill>
            <a:srgbClr val="7C2529"/>
          </a:solidFill>
        </p:grpSpPr>
        <p:sp>
          <p:nvSpPr>
            <p:cNvPr id="26" name="Oval 95726"/>
            <p:cNvSpPr>
              <a:spLocks noChangeArrowheads="1"/>
            </p:cNvSpPr>
            <p:nvPr/>
          </p:nvSpPr>
          <p:spPr bwMode="gray">
            <a:xfrm>
              <a:off x="699356" y="2705229"/>
              <a:ext cx="97514" cy="9751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CR" kern="0" dirty="0">
                <a:solidFill>
                  <a:prstClr val="black"/>
                </a:solidFill>
              </a:endParaRPr>
            </a:p>
          </p:txBody>
        </p:sp>
        <p:sp>
          <p:nvSpPr>
            <p:cNvPr id="27" name="Freeform 95727"/>
            <p:cNvSpPr>
              <a:spLocks/>
            </p:cNvSpPr>
            <p:nvPr/>
          </p:nvSpPr>
          <p:spPr bwMode="gray">
            <a:xfrm>
              <a:off x="634348" y="2813576"/>
              <a:ext cx="227532" cy="433394"/>
            </a:xfrm>
            <a:custGeom>
              <a:avLst/>
              <a:gdLst>
                <a:gd name="T0" fmla="*/ 49 w 49"/>
                <a:gd name="T1" fmla="*/ 11 h 92"/>
                <a:gd name="T2" fmla="*/ 35 w 49"/>
                <a:gd name="T3" fmla="*/ 0 h 92"/>
                <a:gd name="T4" fmla="*/ 15 w 49"/>
                <a:gd name="T5" fmla="*/ 0 h 92"/>
                <a:gd name="T6" fmla="*/ 0 w 49"/>
                <a:gd name="T7" fmla="*/ 11 h 92"/>
                <a:gd name="T8" fmla="*/ 0 w 49"/>
                <a:gd name="T9" fmla="*/ 36 h 92"/>
                <a:gd name="T10" fmla="*/ 0 w 49"/>
                <a:gd name="T11" fmla="*/ 36 h 92"/>
                <a:gd name="T12" fmla="*/ 0 w 49"/>
                <a:gd name="T13" fmla="*/ 36 h 92"/>
                <a:gd name="T14" fmla="*/ 5 w 49"/>
                <a:gd name="T15" fmla="*/ 41 h 92"/>
                <a:gd name="T16" fmla="*/ 9 w 49"/>
                <a:gd name="T17" fmla="*/ 36 h 92"/>
                <a:gd name="T18" fmla="*/ 9 w 49"/>
                <a:gd name="T19" fmla="*/ 36 h 92"/>
                <a:gd name="T20" fmla="*/ 9 w 49"/>
                <a:gd name="T21" fmla="*/ 36 h 92"/>
                <a:gd name="T22" fmla="*/ 9 w 49"/>
                <a:gd name="T23" fmla="*/ 13 h 92"/>
                <a:gd name="T24" fmla="*/ 12 w 49"/>
                <a:gd name="T25" fmla="*/ 13 h 92"/>
                <a:gd name="T26" fmla="*/ 12 w 49"/>
                <a:gd name="T27" fmla="*/ 87 h 92"/>
                <a:gd name="T28" fmla="*/ 18 w 49"/>
                <a:gd name="T29" fmla="*/ 92 h 92"/>
                <a:gd name="T30" fmla="*/ 23 w 49"/>
                <a:gd name="T31" fmla="*/ 87 h 92"/>
                <a:gd name="T32" fmla="*/ 23 w 49"/>
                <a:gd name="T33" fmla="*/ 39 h 92"/>
                <a:gd name="T34" fmla="*/ 26 w 49"/>
                <a:gd name="T35" fmla="*/ 39 h 92"/>
                <a:gd name="T36" fmla="*/ 26 w 49"/>
                <a:gd name="T37" fmla="*/ 87 h 92"/>
                <a:gd name="T38" fmla="*/ 26 w 49"/>
                <a:gd name="T39" fmla="*/ 87 h 92"/>
                <a:gd name="T40" fmla="*/ 32 w 49"/>
                <a:gd name="T41" fmla="*/ 92 h 92"/>
                <a:gd name="T42" fmla="*/ 38 w 49"/>
                <a:gd name="T43" fmla="*/ 87 h 92"/>
                <a:gd name="T44" fmla="*/ 38 w 49"/>
                <a:gd name="T45" fmla="*/ 13 h 92"/>
                <a:gd name="T46" fmla="*/ 41 w 49"/>
                <a:gd name="T47" fmla="*/ 13 h 92"/>
                <a:gd name="T48" fmla="*/ 41 w 49"/>
                <a:gd name="T49" fmla="*/ 36 h 92"/>
                <a:gd name="T50" fmla="*/ 41 w 49"/>
                <a:gd name="T51" fmla="*/ 36 h 92"/>
                <a:gd name="T52" fmla="*/ 41 w 49"/>
                <a:gd name="T53" fmla="*/ 36 h 92"/>
                <a:gd name="T54" fmla="*/ 45 w 49"/>
                <a:gd name="T55" fmla="*/ 41 h 92"/>
                <a:gd name="T56" fmla="*/ 49 w 49"/>
                <a:gd name="T57" fmla="*/ 36 h 92"/>
                <a:gd name="T58" fmla="*/ 49 w 49"/>
                <a:gd name="T59" fmla="*/ 36 h 92"/>
                <a:gd name="T60" fmla="*/ 49 w 49"/>
                <a:gd name="T61" fmla="*/ 11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9" h="92">
                  <a:moveTo>
                    <a:pt x="49" y="11"/>
                  </a:moveTo>
                  <a:cubicBezTo>
                    <a:pt x="48" y="0"/>
                    <a:pt x="35" y="0"/>
                    <a:pt x="3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11"/>
                    <a:pt x="0" y="11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9"/>
                    <a:pt x="2" y="41"/>
                    <a:pt x="5" y="41"/>
                  </a:cubicBezTo>
                  <a:cubicBezTo>
                    <a:pt x="7" y="41"/>
                    <a:pt x="9" y="39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87"/>
                    <a:pt x="12" y="87"/>
                    <a:pt x="12" y="87"/>
                  </a:cubicBezTo>
                  <a:cubicBezTo>
                    <a:pt x="12" y="90"/>
                    <a:pt x="14" y="92"/>
                    <a:pt x="18" y="92"/>
                  </a:cubicBezTo>
                  <a:cubicBezTo>
                    <a:pt x="21" y="92"/>
                    <a:pt x="23" y="90"/>
                    <a:pt x="23" y="87"/>
                  </a:cubicBezTo>
                  <a:cubicBezTo>
                    <a:pt x="23" y="39"/>
                    <a:pt x="23" y="39"/>
                    <a:pt x="23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87"/>
                    <a:pt x="26" y="87"/>
                    <a:pt x="26" y="87"/>
                  </a:cubicBezTo>
                  <a:cubicBezTo>
                    <a:pt x="26" y="87"/>
                    <a:pt x="26" y="87"/>
                    <a:pt x="26" y="87"/>
                  </a:cubicBezTo>
                  <a:cubicBezTo>
                    <a:pt x="26" y="90"/>
                    <a:pt x="29" y="92"/>
                    <a:pt x="32" y="92"/>
                  </a:cubicBezTo>
                  <a:cubicBezTo>
                    <a:pt x="35" y="92"/>
                    <a:pt x="38" y="90"/>
                    <a:pt x="38" y="87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1" y="39"/>
                    <a:pt x="43" y="41"/>
                    <a:pt x="45" y="41"/>
                  </a:cubicBezTo>
                  <a:cubicBezTo>
                    <a:pt x="47" y="41"/>
                    <a:pt x="49" y="39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lnTo>
                    <a:pt x="49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CR" kern="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28" name="Group 27"/>
          <p:cNvGrpSpPr/>
          <p:nvPr/>
        </p:nvGrpSpPr>
        <p:grpSpPr bwMode="gray">
          <a:xfrm>
            <a:off x="1699605" y="1042522"/>
            <a:ext cx="210623" cy="501484"/>
            <a:chOff x="634348" y="2705229"/>
            <a:chExt cx="227532" cy="541741"/>
          </a:xfrm>
          <a:solidFill>
            <a:srgbClr val="7C2529"/>
          </a:solidFill>
        </p:grpSpPr>
        <p:sp>
          <p:nvSpPr>
            <p:cNvPr id="29" name="Oval 95726"/>
            <p:cNvSpPr>
              <a:spLocks noChangeArrowheads="1"/>
            </p:cNvSpPr>
            <p:nvPr/>
          </p:nvSpPr>
          <p:spPr bwMode="gray">
            <a:xfrm>
              <a:off x="699356" y="2705229"/>
              <a:ext cx="97514" cy="9751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CR" kern="0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95727"/>
            <p:cNvSpPr>
              <a:spLocks/>
            </p:cNvSpPr>
            <p:nvPr/>
          </p:nvSpPr>
          <p:spPr bwMode="gray">
            <a:xfrm>
              <a:off x="634348" y="2813576"/>
              <a:ext cx="227532" cy="433394"/>
            </a:xfrm>
            <a:custGeom>
              <a:avLst/>
              <a:gdLst>
                <a:gd name="T0" fmla="*/ 49 w 49"/>
                <a:gd name="T1" fmla="*/ 11 h 92"/>
                <a:gd name="T2" fmla="*/ 35 w 49"/>
                <a:gd name="T3" fmla="*/ 0 h 92"/>
                <a:gd name="T4" fmla="*/ 15 w 49"/>
                <a:gd name="T5" fmla="*/ 0 h 92"/>
                <a:gd name="T6" fmla="*/ 0 w 49"/>
                <a:gd name="T7" fmla="*/ 11 h 92"/>
                <a:gd name="T8" fmla="*/ 0 w 49"/>
                <a:gd name="T9" fmla="*/ 36 h 92"/>
                <a:gd name="T10" fmla="*/ 0 w 49"/>
                <a:gd name="T11" fmla="*/ 36 h 92"/>
                <a:gd name="T12" fmla="*/ 0 w 49"/>
                <a:gd name="T13" fmla="*/ 36 h 92"/>
                <a:gd name="T14" fmla="*/ 5 w 49"/>
                <a:gd name="T15" fmla="*/ 41 h 92"/>
                <a:gd name="T16" fmla="*/ 9 w 49"/>
                <a:gd name="T17" fmla="*/ 36 h 92"/>
                <a:gd name="T18" fmla="*/ 9 w 49"/>
                <a:gd name="T19" fmla="*/ 36 h 92"/>
                <a:gd name="T20" fmla="*/ 9 w 49"/>
                <a:gd name="T21" fmla="*/ 36 h 92"/>
                <a:gd name="T22" fmla="*/ 9 w 49"/>
                <a:gd name="T23" fmla="*/ 13 h 92"/>
                <a:gd name="T24" fmla="*/ 12 w 49"/>
                <a:gd name="T25" fmla="*/ 13 h 92"/>
                <a:gd name="T26" fmla="*/ 12 w 49"/>
                <a:gd name="T27" fmla="*/ 87 h 92"/>
                <a:gd name="T28" fmla="*/ 18 w 49"/>
                <a:gd name="T29" fmla="*/ 92 h 92"/>
                <a:gd name="T30" fmla="*/ 23 w 49"/>
                <a:gd name="T31" fmla="*/ 87 h 92"/>
                <a:gd name="T32" fmla="*/ 23 w 49"/>
                <a:gd name="T33" fmla="*/ 39 h 92"/>
                <a:gd name="T34" fmla="*/ 26 w 49"/>
                <a:gd name="T35" fmla="*/ 39 h 92"/>
                <a:gd name="T36" fmla="*/ 26 w 49"/>
                <a:gd name="T37" fmla="*/ 87 h 92"/>
                <a:gd name="T38" fmla="*/ 26 w 49"/>
                <a:gd name="T39" fmla="*/ 87 h 92"/>
                <a:gd name="T40" fmla="*/ 32 w 49"/>
                <a:gd name="T41" fmla="*/ 92 h 92"/>
                <a:gd name="T42" fmla="*/ 38 w 49"/>
                <a:gd name="T43" fmla="*/ 87 h 92"/>
                <a:gd name="T44" fmla="*/ 38 w 49"/>
                <a:gd name="T45" fmla="*/ 13 h 92"/>
                <a:gd name="T46" fmla="*/ 41 w 49"/>
                <a:gd name="T47" fmla="*/ 13 h 92"/>
                <a:gd name="T48" fmla="*/ 41 w 49"/>
                <a:gd name="T49" fmla="*/ 36 h 92"/>
                <a:gd name="T50" fmla="*/ 41 w 49"/>
                <a:gd name="T51" fmla="*/ 36 h 92"/>
                <a:gd name="T52" fmla="*/ 41 w 49"/>
                <a:gd name="T53" fmla="*/ 36 h 92"/>
                <a:gd name="T54" fmla="*/ 45 w 49"/>
                <a:gd name="T55" fmla="*/ 41 h 92"/>
                <a:gd name="T56" fmla="*/ 49 w 49"/>
                <a:gd name="T57" fmla="*/ 36 h 92"/>
                <a:gd name="T58" fmla="*/ 49 w 49"/>
                <a:gd name="T59" fmla="*/ 36 h 92"/>
                <a:gd name="T60" fmla="*/ 49 w 49"/>
                <a:gd name="T61" fmla="*/ 11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9" h="92">
                  <a:moveTo>
                    <a:pt x="49" y="11"/>
                  </a:moveTo>
                  <a:cubicBezTo>
                    <a:pt x="48" y="0"/>
                    <a:pt x="35" y="0"/>
                    <a:pt x="3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11"/>
                    <a:pt x="0" y="11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9"/>
                    <a:pt x="2" y="41"/>
                    <a:pt x="5" y="41"/>
                  </a:cubicBezTo>
                  <a:cubicBezTo>
                    <a:pt x="7" y="41"/>
                    <a:pt x="9" y="39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87"/>
                    <a:pt x="12" y="87"/>
                    <a:pt x="12" y="87"/>
                  </a:cubicBezTo>
                  <a:cubicBezTo>
                    <a:pt x="12" y="90"/>
                    <a:pt x="14" y="92"/>
                    <a:pt x="18" y="92"/>
                  </a:cubicBezTo>
                  <a:cubicBezTo>
                    <a:pt x="21" y="92"/>
                    <a:pt x="23" y="90"/>
                    <a:pt x="23" y="87"/>
                  </a:cubicBezTo>
                  <a:cubicBezTo>
                    <a:pt x="23" y="39"/>
                    <a:pt x="23" y="39"/>
                    <a:pt x="23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87"/>
                    <a:pt x="26" y="87"/>
                    <a:pt x="26" y="87"/>
                  </a:cubicBezTo>
                  <a:cubicBezTo>
                    <a:pt x="26" y="87"/>
                    <a:pt x="26" y="87"/>
                    <a:pt x="26" y="87"/>
                  </a:cubicBezTo>
                  <a:cubicBezTo>
                    <a:pt x="26" y="90"/>
                    <a:pt x="29" y="92"/>
                    <a:pt x="32" y="92"/>
                  </a:cubicBezTo>
                  <a:cubicBezTo>
                    <a:pt x="35" y="92"/>
                    <a:pt x="38" y="90"/>
                    <a:pt x="38" y="87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1" y="39"/>
                    <a:pt x="43" y="41"/>
                    <a:pt x="45" y="41"/>
                  </a:cubicBezTo>
                  <a:cubicBezTo>
                    <a:pt x="47" y="41"/>
                    <a:pt x="49" y="39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lnTo>
                    <a:pt x="49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CR" kern="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31" name="Group 30"/>
          <p:cNvGrpSpPr/>
          <p:nvPr/>
        </p:nvGrpSpPr>
        <p:grpSpPr bwMode="gray">
          <a:xfrm>
            <a:off x="1969457" y="1042522"/>
            <a:ext cx="202300" cy="501484"/>
            <a:chOff x="-1115175" y="2195853"/>
            <a:chExt cx="176961" cy="438671"/>
          </a:xfrm>
          <a:solidFill>
            <a:srgbClr val="7C2529"/>
          </a:solidFill>
        </p:grpSpPr>
        <p:sp>
          <p:nvSpPr>
            <p:cNvPr id="32" name="Oval 95774"/>
            <p:cNvSpPr>
              <a:spLocks noChangeArrowheads="1"/>
            </p:cNvSpPr>
            <p:nvPr/>
          </p:nvSpPr>
          <p:spPr bwMode="gray">
            <a:xfrm>
              <a:off x="-1061789" y="2195853"/>
              <a:ext cx="70188" cy="7018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CR" kern="0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95775"/>
            <p:cNvSpPr>
              <a:spLocks/>
            </p:cNvSpPr>
            <p:nvPr/>
          </p:nvSpPr>
          <p:spPr bwMode="gray">
            <a:xfrm>
              <a:off x="-1115175" y="2283586"/>
              <a:ext cx="176961" cy="350938"/>
            </a:xfrm>
            <a:custGeom>
              <a:avLst/>
              <a:gdLst>
                <a:gd name="T0" fmla="*/ 57 w 65"/>
                <a:gd name="T1" fmla="*/ 11 h 92"/>
                <a:gd name="T2" fmla="*/ 39 w 65"/>
                <a:gd name="T3" fmla="*/ 0 h 92"/>
                <a:gd name="T4" fmla="*/ 26 w 65"/>
                <a:gd name="T5" fmla="*/ 0 h 92"/>
                <a:gd name="T6" fmla="*/ 8 w 65"/>
                <a:gd name="T7" fmla="*/ 11 h 92"/>
                <a:gd name="T8" fmla="*/ 0 w 65"/>
                <a:gd name="T9" fmla="*/ 36 h 92"/>
                <a:gd name="T10" fmla="*/ 0 w 65"/>
                <a:gd name="T11" fmla="*/ 36 h 92"/>
                <a:gd name="T12" fmla="*/ 0 w 65"/>
                <a:gd name="T13" fmla="*/ 36 h 92"/>
                <a:gd name="T14" fmla="*/ 4 w 65"/>
                <a:gd name="T15" fmla="*/ 41 h 92"/>
                <a:gd name="T16" fmla="*/ 8 w 65"/>
                <a:gd name="T17" fmla="*/ 36 h 92"/>
                <a:gd name="T18" fmla="*/ 8 w 65"/>
                <a:gd name="T19" fmla="*/ 36 h 92"/>
                <a:gd name="T20" fmla="*/ 8 w 65"/>
                <a:gd name="T21" fmla="*/ 36 h 92"/>
                <a:gd name="T22" fmla="*/ 17 w 65"/>
                <a:gd name="T23" fmla="*/ 13 h 92"/>
                <a:gd name="T24" fmla="*/ 19 w 65"/>
                <a:gd name="T25" fmla="*/ 13 h 92"/>
                <a:gd name="T26" fmla="*/ 6 w 65"/>
                <a:gd name="T27" fmla="*/ 53 h 92"/>
                <a:gd name="T28" fmla="*/ 19 w 65"/>
                <a:gd name="T29" fmla="*/ 53 h 92"/>
                <a:gd name="T30" fmla="*/ 19 w 65"/>
                <a:gd name="T31" fmla="*/ 86 h 92"/>
                <a:gd name="T32" fmla="*/ 25 w 65"/>
                <a:gd name="T33" fmla="*/ 92 h 92"/>
                <a:gd name="T34" fmla="*/ 31 w 65"/>
                <a:gd name="T35" fmla="*/ 86 h 92"/>
                <a:gd name="T36" fmla="*/ 31 w 65"/>
                <a:gd name="T37" fmla="*/ 53 h 92"/>
                <a:gd name="T38" fmla="*/ 34 w 65"/>
                <a:gd name="T39" fmla="*/ 53 h 92"/>
                <a:gd name="T40" fmla="*/ 34 w 65"/>
                <a:gd name="T41" fmla="*/ 86 h 92"/>
                <a:gd name="T42" fmla="*/ 34 w 65"/>
                <a:gd name="T43" fmla="*/ 86 h 92"/>
                <a:gd name="T44" fmla="*/ 40 w 65"/>
                <a:gd name="T45" fmla="*/ 92 h 92"/>
                <a:gd name="T46" fmla="*/ 45 w 65"/>
                <a:gd name="T47" fmla="*/ 86 h 92"/>
                <a:gd name="T48" fmla="*/ 45 w 65"/>
                <a:gd name="T49" fmla="*/ 53 h 92"/>
                <a:gd name="T50" fmla="*/ 59 w 65"/>
                <a:gd name="T51" fmla="*/ 53 h 92"/>
                <a:gd name="T52" fmla="*/ 45 w 65"/>
                <a:gd name="T53" fmla="*/ 13 h 92"/>
                <a:gd name="T54" fmla="*/ 48 w 65"/>
                <a:gd name="T55" fmla="*/ 13 h 92"/>
                <a:gd name="T56" fmla="*/ 56 w 65"/>
                <a:gd name="T57" fmla="*/ 36 h 92"/>
                <a:gd name="T58" fmla="*/ 56 w 65"/>
                <a:gd name="T59" fmla="*/ 36 h 92"/>
                <a:gd name="T60" fmla="*/ 56 w 65"/>
                <a:gd name="T61" fmla="*/ 36 h 92"/>
                <a:gd name="T62" fmla="*/ 61 w 65"/>
                <a:gd name="T63" fmla="*/ 40 h 92"/>
                <a:gd name="T64" fmla="*/ 65 w 65"/>
                <a:gd name="T65" fmla="*/ 36 h 92"/>
                <a:gd name="T66" fmla="*/ 65 w 65"/>
                <a:gd name="T67" fmla="*/ 36 h 92"/>
                <a:gd name="T68" fmla="*/ 57 w 65"/>
                <a:gd name="T69" fmla="*/ 11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5" h="92">
                  <a:moveTo>
                    <a:pt x="57" y="11"/>
                  </a:moveTo>
                  <a:cubicBezTo>
                    <a:pt x="56" y="0"/>
                    <a:pt x="39" y="0"/>
                    <a:pt x="39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2" y="0"/>
                    <a:pt x="8" y="11"/>
                    <a:pt x="8" y="11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9"/>
                    <a:pt x="2" y="41"/>
                    <a:pt x="4" y="41"/>
                  </a:cubicBezTo>
                  <a:cubicBezTo>
                    <a:pt x="6" y="41"/>
                    <a:pt x="8" y="39"/>
                    <a:pt x="8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19" y="53"/>
                    <a:pt x="19" y="53"/>
                    <a:pt x="19" y="53"/>
                  </a:cubicBezTo>
                  <a:cubicBezTo>
                    <a:pt x="19" y="86"/>
                    <a:pt x="19" y="86"/>
                    <a:pt x="19" y="86"/>
                  </a:cubicBezTo>
                  <a:cubicBezTo>
                    <a:pt x="19" y="89"/>
                    <a:pt x="22" y="92"/>
                    <a:pt x="25" y="92"/>
                  </a:cubicBezTo>
                  <a:cubicBezTo>
                    <a:pt x="28" y="92"/>
                    <a:pt x="31" y="89"/>
                    <a:pt x="31" y="86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86"/>
                    <a:pt x="34" y="86"/>
                    <a:pt x="34" y="86"/>
                  </a:cubicBezTo>
                  <a:cubicBezTo>
                    <a:pt x="34" y="86"/>
                    <a:pt x="34" y="86"/>
                    <a:pt x="34" y="86"/>
                  </a:cubicBezTo>
                  <a:cubicBezTo>
                    <a:pt x="34" y="89"/>
                    <a:pt x="36" y="92"/>
                    <a:pt x="40" y="92"/>
                  </a:cubicBezTo>
                  <a:cubicBezTo>
                    <a:pt x="43" y="92"/>
                    <a:pt x="45" y="89"/>
                    <a:pt x="45" y="86"/>
                  </a:cubicBezTo>
                  <a:cubicBezTo>
                    <a:pt x="45" y="53"/>
                    <a:pt x="45" y="53"/>
                    <a:pt x="45" y="53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45" y="13"/>
                    <a:pt x="45" y="13"/>
                    <a:pt x="45" y="13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8"/>
                    <a:pt x="58" y="40"/>
                    <a:pt x="61" y="40"/>
                  </a:cubicBezTo>
                  <a:cubicBezTo>
                    <a:pt x="63" y="40"/>
                    <a:pt x="65" y="38"/>
                    <a:pt x="65" y="36"/>
                  </a:cubicBezTo>
                  <a:cubicBezTo>
                    <a:pt x="65" y="36"/>
                    <a:pt x="65" y="36"/>
                    <a:pt x="65" y="36"/>
                  </a:cubicBezTo>
                  <a:lnTo>
                    <a:pt x="57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CR" kern="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34" name="Group 33"/>
          <p:cNvGrpSpPr/>
          <p:nvPr/>
        </p:nvGrpSpPr>
        <p:grpSpPr bwMode="gray">
          <a:xfrm>
            <a:off x="1469776" y="1573137"/>
            <a:ext cx="202300" cy="501484"/>
            <a:chOff x="-1115175" y="2195853"/>
            <a:chExt cx="176961" cy="438671"/>
          </a:xfrm>
          <a:solidFill>
            <a:srgbClr val="7C2529"/>
          </a:solidFill>
        </p:grpSpPr>
        <p:sp>
          <p:nvSpPr>
            <p:cNvPr id="35" name="Oval 95774"/>
            <p:cNvSpPr>
              <a:spLocks noChangeArrowheads="1"/>
            </p:cNvSpPr>
            <p:nvPr/>
          </p:nvSpPr>
          <p:spPr bwMode="gray">
            <a:xfrm>
              <a:off x="-1061789" y="2195853"/>
              <a:ext cx="70188" cy="7018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CR" kern="0" dirty="0">
                <a:solidFill>
                  <a:prstClr val="black"/>
                </a:solidFill>
              </a:endParaRPr>
            </a:p>
          </p:txBody>
        </p:sp>
        <p:sp>
          <p:nvSpPr>
            <p:cNvPr id="36" name="Freeform 95775"/>
            <p:cNvSpPr>
              <a:spLocks/>
            </p:cNvSpPr>
            <p:nvPr/>
          </p:nvSpPr>
          <p:spPr bwMode="gray">
            <a:xfrm>
              <a:off x="-1115175" y="2283586"/>
              <a:ext cx="176961" cy="350938"/>
            </a:xfrm>
            <a:custGeom>
              <a:avLst/>
              <a:gdLst>
                <a:gd name="T0" fmla="*/ 57 w 65"/>
                <a:gd name="T1" fmla="*/ 11 h 92"/>
                <a:gd name="T2" fmla="*/ 39 w 65"/>
                <a:gd name="T3" fmla="*/ 0 h 92"/>
                <a:gd name="T4" fmla="*/ 26 w 65"/>
                <a:gd name="T5" fmla="*/ 0 h 92"/>
                <a:gd name="T6" fmla="*/ 8 w 65"/>
                <a:gd name="T7" fmla="*/ 11 h 92"/>
                <a:gd name="T8" fmla="*/ 0 w 65"/>
                <a:gd name="T9" fmla="*/ 36 h 92"/>
                <a:gd name="T10" fmla="*/ 0 w 65"/>
                <a:gd name="T11" fmla="*/ 36 h 92"/>
                <a:gd name="T12" fmla="*/ 0 w 65"/>
                <a:gd name="T13" fmla="*/ 36 h 92"/>
                <a:gd name="T14" fmla="*/ 4 w 65"/>
                <a:gd name="T15" fmla="*/ 41 h 92"/>
                <a:gd name="T16" fmla="*/ 8 w 65"/>
                <a:gd name="T17" fmla="*/ 36 h 92"/>
                <a:gd name="T18" fmla="*/ 8 w 65"/>
                <a:gd name="T19" fmla="*/ 36 h 92"/>
                <a:gd name="T20" fmla="*/ 8 w 65"/>
                <a:gd name="T21" fmla="*/ 36 h 92"/>
                <a:gd name="T22" fmla="*/ 17 w 65"/>
                <a:gd name="T23" fmla="*/ 13 h 92"/>
                <a:gd name="T24" fmla="*/ 19 w 65"/>
                <a:gd name="T25" fmla="*/ 13 h 92"/>
                <a:gd name="T26" fmla="*/ 6 w 65"/>
                <a:gd name="T27" fmla="*/ 53 h 92"/>
                <a:gd name="T28" fmla="*/ 19 w 65"/>
                <a:gd name="T29" fmla="*/ 53 h 92"/>
                <a:gd name="T30" fmla="*/ 19 w 65"/>
                <a:gd name="T31" fmla="*/ 86 h 92"/>
                <a:gd name="T32" fmla="*/ 25 w 65"/>
                <a:gd name="T33" fmla="*/ 92 h 92"/>
                <a:gd name="T34" fmla="*/ 31 w 65"/>
                <a:gd name="T35" fmla="*/ 86 h 92"/>
                <a:gd name="T36" fmla="*/ 31 w 65"/>
                <a:gd name="T37" fmla="*/ 53 h 92"/>
                <a:gd name="T38" fmla="*/ 34 w 65"/>
                <a:gd name="T39" fmla="*/ 53 h 92"/>
                <a:gd name="T40" fmla="*/ 34 w 65"/>
                <a:gd name="T41" fmla="*/ 86 h 92"/>
                <a:gd name="T42" fmla="*/ 34 w 65"/>
                <a:gd name="T43" fmla="*/ 86 h 92"/>
                <a:gd name="T44" fmla="*/ 40 w 65"/>
                <a:gd name="T45" fmla="*/ 92 h 92"/>
                <a:gd name="T46" fmla="*/ 45 w 65"/>
                <a:gd name="T47" fmla="*/ 86 h 92"/>
                <a:gd name="T48" fmla="*/ 45 w 65"/>
                <a:gd name="T49" fmla="*/ 53 h 92"/>
                <a:gd name="T50" fmla="*/ 59 w 65"/>
                <a:gd name="T51" fmla="*/ 53 h 92"/>
                <a:gd name="T52" fmla="*/ 45 w 65"/>
                <a:gd name="T53" fmla="*/ 13 h 92"/>
                <a:gd name="T54" fmla="*/ 48 w 65"/>
                <a:gd name="T55" fmla="*/ 13 h 92"/>
                <a:gd name="T56" fmla="*/ 56 w 65"/>
                <a:gd name="T57" fmla="*/ 36 h 92"/>
                <a:gd name="T58" fmla="*/ 56 w 65"/>
                <a:gd name="T59" fmla="*/ 36 h 92"/>
                <a:gd name="T60" fmla="*/ 56 w 65"/>
                <a:gd name="T61" fmla="*/ 36 h 92"/>
                <a:gd name="T62" fmla="*/ 61 w 65"/>
                <a:gd name="T63" fmla="*/ 40 h 92"/>
                <a:gd name="T64" fmla="*/ 65 w 65"/>
                <a:gd name="T65" fmla="*/ 36 h 92"/>
                <a:gd name="T66" fmla="*/ 65 w 65"/>
                <a:gd name="T67" fmla="*/ 36 h 92"/>
                <a:gd name="T68" fmla="*/ 57 w 65"/>
                <a:gd name="T69" fmla="*/ 11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5" h="92">
                  <a:moveTo>
                    <a:pt x="57" y="11"/>
                  </a:moveTo>
                  <a:cubicBezTo>
                    <a:pt x="56" y="0"/>
                    <a:pt x="39" y="0"/>
                    <a:pt x="39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2" y="0"/>
                    <a:pt x="8" y="11"/>
                    <a:pt x="8" y="11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9"/>
                    <a:pt x="2" y="41"/>
                    <a:pt x="4" y="41"/>
                  </a:cubicBezTo>
                  <a:cubicBezTo>
                    <a:pt x="6" y="41"/>
                    <a:pt x="8" y="39"/>
                    <a:pt x="8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19" y="53"/>
                    <a:pt x="19" y="53"/>
                    <a:pt x="19" y="53"/>
                  </a:cubicBezTo>
                  <a:cubicBezTo>
                    <a:pt x="19" y="86"/>
                    <a:pt x="19" y="86"/>
                    <a:pt x="19" y="86"/>
                  </a:cubicBezTo>
                  <a:cubicBezTo>
                    <a:pt x="19" y="89"/>
                    <a:pt x="22" y="92"/>
                    <a:pt x="25" y="92"/>
                  </a:cubicBezTo>
                  <a:cubicBezTo>
                    <a:pt x="28" y="92"/>
                    <a:pt x="31" y="89"/>
                    <a:pt x="31" y="86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86"/>
                    <a:pt x="34" y="86"/>
                    <a:pt x="34" y="86"/>
                  </a:cubicBezTo>
                  <a:cubicBezTo>
                    <a:pt x="34" y="86"/>
                    <a:pt x="34" y="86"/>
                    <a:pt x="34" y="86"/>
                  </a:cubicBezTo>
                  <a:cubicBezTo>
                    <a:pt x="34" y="89"/>
                    <a:pt x="36" y="92"/>
                    <a:pt x="40" y="92"/>
                  </a:cubicBezTo>
                  <a:cubicBezTo>
                    <a:pt x="43" y="92"/>
                    <a:pt x="45" y="89"/>
                    <a:pt x="45" y="86"/>
                  </a:cubicBezTo>
                  <a:cubicBezTo>
                    <a:pt x="45" y="53"/>
                    <a:pt x="45" y="53"/>
                    <a:pt x="45" y="53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45" y="13"/>
                    <a:pt x="45" y="13"/>
                    <a:pt x="45" y="13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8"/>
                    <a:pt x="58" y="40"/>
                    <a:pt x="61" y="40"/>
                  </a:cubicBezTo>
                  <a:cubicBezTo>
                    <a:pt x="63" y="40"/>
                    <a:pt x="65" y="38"/>
                    <a:pt x="65" y="36"/>
                  </a:cubicBezTo>
                  <a:cubicBezTo>
                    <a:pt x="65" y="36"/>
                    <a:pt x="65" y="36"/>
                    <a:pt x="65" y="36"/>
                  </a:cubicBezTo>
                  <a:lnTo>
                    <a:pt x="57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CR" kern="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37" name="Group 36"/>
          <p:cNvGrpSpPr/>
          <p:nvPr/>
        </p:nvGrpSpPr>
        <p:grpSpPr bwMode="gray">
          <a:xfrm>
            <a:off x="1969457" y="1573137"/>
            <a:ext cx="202300" cy="501484"/>
            <a:chOff x="-1115175" y="2195853"/>
            <a:chExt cx="176961" cy="438671"/>
          </a:xfrm>
          <a:solidFill>
            <a:srgbClr val="7C2529"/>
          </a:solidFill>
        </p:grpSpPr>
        <p:sp>
          <p:nvSpPr>
            <p:cNvPr id="38" name="Oval 95774"/>
            <p:cNvSpPr>
              <a:spLocks noChangeArrowheads="1"/>
            </p:cNvSpPr>
            <p:nvPr/>
          </p:nvSpPr>
          <p:spPr bwMode="gray">
            <a:xfrm>
              <a:off x="-1061789" y="2195853"/>
              <a:ext cx="70188" cy="7018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CR" kern="0" dirty="0">
                <a:solidFill>
                  <a:prstClr val="black"/>
                </a:solidFill>
              </a:endParaRPr>
            </a:p>
          </p:txBody>
        </p:sp>
        <p:sp>
          <p:nvSpPr>
            <p:cNvPr id="39" name="Freeform 95775"/>
            <p:cNvSpPr>
              <a:spLocks/>
            </p:cNvSpPr>
            <p:nvPr/>
          </p:nvSpPr>
          <p:spPr bwMode="gray">
            <a:xfrm>
              <a:off x="-1115175" y="2283586"/>
              <a:ext cx="176961" cy="350938"/>
            </a:xfrm>
            <a:custGeom>
              <a:avLst/>
              <a:gdLst>
                <a:gd name="T0" fmla="*/ 57 w 65"/>
                <a:gd name="T1" fmla="*/ 11 h 92"/>
                <a:gd name="T2" fmla="*/ 39 w 65"/>
                <a:gd name="T3" fmla="*/ 0 h 92"/>
                <a:gd name="T4" fmla="*/ 26 w 65"/>
                <a:gd name="T5" fmla="*/ 0 h 92"/>
                <a:gd name="T6" fmla="*/ 8 w 65"/>
                <a:gd name="T7" fmla="*/ 11 h 92"/>
                <a:gd name="T8" fmla="*/ 0 w 65"/>
                <a:gd name="T9" fmla="*/ 36 h 92"/>
                <a:gd name="T10" fmla="*/ 0 w 65"/>
                <a:gd name="T11" fmla="*/ 36 h 92"/>
                <a:gd name="T12" fmla="*/ 0 w 65"/>
                <a:gd name="T13" fmla="*/ 36 h 92"/>
                <a:gd name="T14" fmla="*/ 4 w 65"/>
                <a:gd name="T15" fmla="*/ 41 h 92"/>
                <a:gd name="T16" fmla="*/ 8 w 65"/>
                <a:gd name="T17" fmla="*/ 36 h 92"/>
                <a:gd name="T18" fmla="*/ 8 w 65"/>
                <a:gd name="T19" fmla="*/ 36 h 92"/>
                <a:gd name="T20" fmla="*/ 8 w 65"/>
                <a:gd name="T21" fmla="*/ 36 h 92"/>
                <a:gd name="T22" fmla="*/ 17 w 65"/>
                <a:gd name="T23" fmla="*/ 13 h 92"/>
                <a:gd name="T24" fmla="*/ 19 w 65"/>
                <a:gd name="T25" fmla="*/ 13 h 92"/>
                <a:gd name="T26" fmla="*/ 6 w 65"/>
                <a:gd name="T27" fmla="*/ 53 h 92"/>
                <a:gd name="T28" fmla="*/ 19 w 65"/>
                <a:gd name="T29" fmla="*/ 53 h 92"/>
                <a:gd name="T30" fmla="*/ 19 w 65"/>
                <a:gd name="T31" fmla="*/ 86 h 92"/>
                <a:gd name="T32" fmla="*/ 25 w 65"/>
                <a:gd name="T33" fmla="*/ 92 h 92"/>
                <a:gd name="T34" fmla="*/ 31 w 65"/>
                <a:gd name="T35" fmla="*/ 86 h 92"/>
                <a:gd name="T36" fmla="*/ 31 w 65"/>
                <a:gd name="T37" fmla="*/ 53 h 92"/>
                <a:gd name="T38" fmla="*/ 34 w 65"/>
                <a:gd name="T39" fmla="*/ 53 h 92"/>
                <a:gd name="T40" fmla="*/ 34 w 65"/>
                <a:gd name="T41" fmla="*/ 86 h 92"/>
                <a:gd name="T42" fmla="*/ 34 w 65"/>
                <a:gd name="T43" fmla="*/ 86 h 92"/>
                <a:gd name="T44" fmla="*/ 40 w 65"/>
                <a:gd name="T45" fmla="*/ 92 h 92"/>
                <a:gd name="T46" fmla="*/ 45 w 65"/>
                <a:gd name="T47" fmla="*/ 86 h 92"/>
                <a:gd name="T48" fmla="*/ 45 w 65"/>
                <a:gd name="T49" fmla="*/ 53 h 92"/>
                <a:gd name="T50" fmla="*/ 59 w 65"/>
                <a:gd name="T51" fmla="*/ 53 h 92"/>
                <a:gd name="T52" fmla="*/ 45 w 65"/>
                <a:gd name="T53" fmla="*/ 13 h 92"/>
                <a:gd name="T54" fmla="*/ 48 w 65"/>
                <a:gd name="T55" fmla="*/ 13 h 92"/>
                <a:gd name="T56" fmla="*/ 56 w 65"/>
                <a:gd name="T57" fmla="*/ 36 h 92"/>
                <a:gd name="T58" fmla="*/ 56 w 65"/>
                <a:gd name="T59" fmla="*/ 36 h 92"/>
                <a:gd name="T60" fmla="*/ 56 w 65"/>
                <a:gd name="T61" fmla="*/ 36 h 92"/>
                <a:gd name="T62" fmla="*/ 61 w 65"/>
                <a:gd name="T63" fmla="*/ 40 h 92"/>
                <a:gd name="T64" fmla="*/ 65 w 65"/>
                <a:gd name="T65" fmla="*/ 36 h 92"/>
                <a:gd name="T66" fmla="*/ 65 w 65"/>
                <a:gd name="T67" fmla="*/ 36 h 92"/>
                <a:gd name="T68" fmla="*/ 57 w 65"/>
                <a:gd name="T69" fmla="*/ 11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5" h="92">
                  <a:moveTo>
                    <a:pt x="57" y="11"/>
                  </a:moveTo>
                  <a:cubicBezTo>
                    <a:pt x="56" y="0"/>
                    <a:pt x="39" y="0"/>
                    <a:pt x="39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2" y="0"/>
                    <a:pt x="8" y="11"/>
                    <a:pt x="8" y="11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9"/>
                    <a:pt x="2" y="41"/>
                    <a:pt x="4" y="41"/>
                  </a:cubicBezTo>
                  <a:cubicBezTo>
                    <a:pt x="6" y="41"/>
                    <a:pt x="8" y="39"/>
                    <a:pt x="8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19" y="53"/>
                    <a:pt x="19" y="53"/>
                    <a:pt x="19" y="53"/>
                  </a:cubicBezTo>
                  <a:cubicBezTo>
                    <a:pt x="19" y="86"/>
                    <a:pt x="19" y="86"/>
                    <a:pt x="19" y="86"/>
                  </a:cubicBezTo>
                  <a:cubicBezTo>
                    <a:pt x="19" y="89"/>
                    <a:pt x="22" y="92"/>
                    <a:pt x="25" y="92"/>
                  </a:cubicBezTo>
                  <a:cubicBezTo>
                    <a:pt x="28" y="92"/>
                    <a:pt x="31" y="89"/>
                    <a:pt x="31" y="86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86"/>
                    <a:pt x="34" y="86"/>
                    <a:pt x="34" y="86"/>
                  </a:cubicBezTo>
                  <a:cubicBezTo>
                    <a:pt x="34" y="86"/>
                    <a:pt x="34" y="86"/>
                    <a:pt x="34" y="86"/>
                  </a:cubicBezTo>
                  <a:cubicBezTo>
                    <a:pt x="34" y="89"/>
                    <a:pt x="36" y="92"/>
                    <a:pt x="40" y="92"/>
                  </a:cubicBezTo>
                  <a:cubicBezTo>
                    <a:pt x="43" y="92"/>
                    <a:pt x="45" y="89"/>
                    <a:pt x="45" y="86"/>
                  </a:cubicBezTo>
                  <a:cubicBezTo>
                    <a:pt x="45" y="53"/>
                    <a:pt x="45" y="53"/>
                    <a:pt x="45" y="53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45" y="13"/>
                    <a:pt x="45" y="13"/>
                    <a:pt x="45" y="13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8"/>
                    <a:pt x="58" y="40"/>
                    <a:pt x="61" y="40"/>
                  </a:cubicBezTo>
                  <a:cubicBezTo>
                    <a:pt x="63" y="40"/>
                    <a:pt x="65" y="38"/>
                    <a:pt x="65" y="36"/>
                  </a:cubicBezTo>
                  <a:cubicBezTo>
                    <a:pt x="65" y="36"/>
                    <a:pt x="65" y="36"/>
                    <a:pt x="65" y="36"/>
                  </a:cubicBezTo>
                  <a:lnTo>
                    <a:pt x="57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CR" kern="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40" name="Group 39"/>
          <p:cNvGrpSpPr/>
          <p:nvPr/>
        </p:nvGrpSpPr>
        <p:grpSpPr bwMode="gray">
          <a:xfrm>
            <a:off x="452971" y="2103752"/>
            <a:ext cx="202300" cy="501484"/>
            <a:chOff x="-1115175" y="2195853"/>
            <a:chExt cx="176961" cy="438671"/>
          </a:xfrm>
          <a:solidFill>
            <a:srgbClr val="7C2529"/>
          </a:solidFill>
        </p:grpSpPr>
        <p:sp>
          <p:nvSpPr>
            <p:cNvPr id="41" name="Oval 95774"/>
            <p:cNvSpPr>
              <a:spLocks noChangeArrowheads="1"/>
            </p:cNvSpPr>
            <p:nvPr/>
          </p:nvSpPr>
          <p:spPr bwMode="gray">
            <a:xfrm>
              <a:off x="-1061789" y="2195853"/>
              <a:ext cx="70188" cy="7018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CR" kern="0" dirty="0">
                <a:solidFill>
                  <a:prstClr val="black"/>
                </a:solidFill>
              </a:endParaRPr>
            </a:p>
          </p:txBody>
        </p:sp>
        <p:sp>
          <p:nvSpPr>
            <p:cNvPr id="42" name="Freeform 95775"/>
            <p:cNvSpPr>
              <a:spLocks/>
            </p:cNvSpPr>
            <p:nvPr/>
          </p:nvSpPr>
          <p:spPr bwMode="gray">
            <a:xfrm>
              <a:off x="-1115175" y="2283586"/>
              <a:ext cx="176961" cy="350938"/>
            </a:xfrm>
            <a:custGeom>
              <a:avLst/>
              <a:gdLst>
                <a:gd name="T0" fmla="*/ 57 w 65"/>
                <a:gd name="T1" fmla="*/ 11 h 92"/>
                <a:gd name="T2" fmla="*/ 39 w 65"/>
                <a:gd name="T3" fmla="*/ 0 h 92"/>
                <a:gd name="T4" fmla="*/ 26 w 65"/>
                <a:gd name="T5" fmla="*/ 0 h 92"/>
                <a:gd name="T6" fmla="*/ 8 w 65"/>
                <a:gd name="T7" fmla="*/ 11 h 92"/>
                <a:gd name="T8" fmla="*/ 0 w 65"/>
                <a:gd name="T9" fmla="*/ 36 h 92"/>
                <a:gd name="T10" fmla="*/ 0 w 65"/>
                <a:gd name="T11" fmla="*/ 36 h 92"/>
                <a:gd name="T12" fmla="*/ 0 w 65"/>
                <a:gd name="T13" fmla="*/ 36 h 92"/>
                <a:gd name="T14" fmla="*/ 4 w 65"/>
                <a:gd name="T15" fmla="*/ 41 h 92"/>
                <a:gd name="T16" fmla="*/ 8 w 65"/>
                <a:gd name="T17" fmla="*/ 36 h 92"/>
                <a:gd name="T18" fmla="*/ 8 w 65"/>
                <a:gd name="T19" fmla="*/ 36 h 92"/>
                <a:gd name="T20" fmla="*/ 8 w 65"/>
                <a:gd name="T21" fmla="*/ 36 h 92"/>
                <a:gd name="T22" fmla="*/ 17 w 65"/>
                <a:gd name="T23" fmla="*/ 13 h 92"/>
                <a:gd name="T24" fmla="*/ 19 w 65"/>
                <a:gd name="T25" fmla="*/ 13 h 92"/>
                <a:gd name="T26" fmla="*/ 6 w 65"/>
                <a:gd name="T27" fmla="*/ 53 h 92"/>
                <a:gd name="T28" fmla="*/ 19 w 65"/>
                <a:gd name="T29" fmla="*/ 53 h 92"/>
                <a:gd name="T30" fmla="*/ 19 w 65"/>
                <a:gd name="T31" fmla="*/ 86 h 92"/>
                <a:gd name="T32" fmla="*/ 25 w 65"/>
                <a:gd name="T33" fmla="*/ 92 h 92"/>
                <a:gd name="T34" fmla="*/ 31 w 65"/>
                <a:gd name="T35" fmla="*/ 86 h 92"/>
                <a:gd name="T36" fmla="*/ 31 w 65"/>
                <a:gd name="T37" fmla="*/ 53 h 92"/>
                <a:gd name="T38" fmla="*/ 34 w 65"/>
                <a:gd name="T39" fmla="*/ 53 h 92"/>
                <a:gd name="T40" fmla="*/ 34 w 65"/>
                <a:gd name="T41" fmla="*/ 86 h 92"/>
                <a:gd name="T42" fmla="*/ 34 w 65"/>
                <a:gd name="T43" fmla="*/ 86 h 92"/>
                <a:gd name="T44" fmla="*/ 40 w 65"/>
                <a:gd name="T45" fmla="*/ 92 h 92"/>
                <a:gd name="T46" fmla="*/ 45 w 65"/>
                <a:gd name="T47" fmla="*/ 86 h 92"/>
                <a:gd name="T48" fmla="*/ 45 w 65"/>
                <a:gd name="T49" fmla="*/ 53 h 92"/>
                <a:gd name="T50" fmla="*/ 59 w 65"/>
                <a:gd name="T51" fmla="*/ 53 h 92"/>
                <a:gd name="T52" fmla="*/ 45 w 65"/>
                <a:gd name="T53" fmla="*/ 13 h 92"/>
                <a:gd name="T54" fmla="*/ 48 w 65"/>
                <a:gd name="T55" fmla="*/ 13 h 92"/>
                <a:gd name="T56" fmla="*/ 56 w 65"/>
                <a:gd name="T57" fmla="*/ 36 h 92"/>
                <a:gd name="T58" fmla="*/ 56 w 65"/>
                <a:gd name="T59" fmla="*/ 36 h 92"/>
                <a:gd name="T60" fmla="*/ 56 w 65"/>
                <a:gd name="T61" fmla="*/ 36 h 92"/>
                <a:gd name="T62" fmla="*/ 61 w 65"/>
                <a:gd name="T63" fmla="*/ 40 h 92"/>
                <a:gd name="T64" fmla="*/ 65 w 65"/>
                <a:gd name="T65" fmla="*/ 36 h 92"/>
                <a:gd name="T66" fmla="*/ 65 w 65"/>
                <a:gd name="T67" fmla="*/ 36 h 92"/>
                <a:gd name="T68" fmla="*/ 57 w 65"/>
                <a:gd name="T69" fmla="*/ 11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5" h="92">
                  <a:moveTo>
                    <a:pt x="57" y="11"/>
                  </a:moveTo>
                  <a:cubicBezTo>
                    <a:pt x="56" y="0"/>
                    <a:pt x="39" y="0"/>
                    <a:pt x="39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2" y="0"/>
                    <a:pt x="8" y="11"/>
                    <a:pt x="8" y="11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9"/>
                    <a:pt x="2" y="41"/>
                    <a:pt x="4" y="41"/>
                  </a:cubicBezTo>
                  <a:cubicBezTo>
                    <a:pt x="6" y="41"/>
                    <a:pt x="8" y="39"/>
                    <a:pt x="8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19" y="53"/>
                    <a:pt x="19" y="53"/>
                    <a:pt x="19" y="53"/>
                  </a:cubicBezTo>
                  <a:cubicBezTo>
                    <a:pt x="19" y="86"/>
                    <a:pt x="19" y="86"/>
                    <a:pt x="19" y="86"/>
                  </a:cubicBezTo>
                  <a:cubicBezTo>
                    <a:pt x="19" y="89"/>
                    <a:pt x="22" y="92"/>
                    <a:pt x="25" y="92"/>
                  </a:cubicBezTo>
                  <a:cubicBezTo>
                    <a:pt x="28" y="92"/>
                    <a:pt x="31" y="89"/>
                    <a:pt x="31" y="86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86"/>
                    <a:pt x="34" y="86"/>
                    <a:pt x="34" y="86"/>
                  </a:cubicBezTo>
                  <a:cubicBezTo>
                    <a:pt x="34" y="86"/>
                    <a:pt x="34" y="86"/>
                    <a:pt x="34" y="86"/>
                  </a:cubicBezTo>
                  <a:cubicBezTo>
                    <a:pt x="34" y="89"/>
                    <a:pt x="36" y="92"/>
                    <a:pt x="40" y="92"/>
                  </a:cubicBezTo>
                  <a:cubicBezTo>
                    <a:pt x="43" y="92"/>
                    <a:pt x="45" y="89"/>
                    <a:pt x="45" y="86"/>
                  </a:cubicBezTo>
                  <a:cubicBezTo>
                    <a:pt x="45" y="53"/>
                    <a:pt x="45" y="53"/>
                    <a:pt x="45" y="53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45" y="13"/>
                    <a:pt x="45" y="13"/>
                    <a:pt x="45" y="13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8"/>
                    <a:pt x="58" y="40"/>
                    <a:pt x="61" y="40"/>
                  </a:cubicBezTo>
                  <a:cubicBezTo>
                    <a:pt x="63" y="40"/>
                    <a:pt x="65" y="38"/>
                    <a:pt x="65" y="36"/>
                  </a:cubicBezTo>
                  <a:cubicBezTo>
                    <a:pt x="65" y="36"/>
                    <a:pt x="65" y="36"/>
                    <a:pt x="65" y="36"/>
                  </a:cubicBezTo>
                  <a:lnTo>
                    <a:pt x="57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CR" kern="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43" name="Group 42"/>
          <p:cNvGrpSpPr/>
          <p:nvPr/>
        </p:nvGrpSpPr>
        <p:grpSpPr bwMode="gray">
          <a:xfrm>
            <a:off x="710200" y="2103752"/>
            <a:ext cx="210623" cy="501484"/>
            <a:chOff x="634348" y="2705229"/>
            <a:chExt cx="227532" cy="541741"/>
          </a:xfrm>
          <a:solidFill>
            <a:srgbClr val="7C2529"/>
          </a:solidFill>
        </p:grpSpPr>
        <p:sp>
          <p:nvSpPr>
            <p:cNvPr id="44" name="Oval 95726"/>
            <p:cNvSpPr>
              <a:spLocks noChangeArrowheads="1"/>
            </p:cNvSpPr>
            <p:nvPr/>
          </p:nvSpPr>
          <p:spPr bwMode="gray">
            <a:xfrm>
              <a:off x="699356" y="2705229"/>
              <a:ext cx="97514" cy="9751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CR" kern="0" dirty="0">
                <a:solidFill>
                  <a:prstClr val="black"/>
                </a:solidFill>
              </a:endParaRPr>
            </a:p>
          </p:txBody>
        </p:sp>
        <p:sp>
          <p:nvSpPr>
            <p:cNvPr id="45" name="Freeform 95727"/>
            <p:cNvSpPr>
              <a:spLocks/>
            </p:cNvSpPr>
            <p:nvPr/>
          </p:nvSpPr>
          <p:spPr bwMode="gray">
            <a:xfrm>
              <a:off x="634348" y="2813576"/>
              <a:ext cx="227532" cy="433394"/>
            </a:xfrm>
            <a:custGeom>
              <a:avLst/>
              <a:gdLst>
                <a:gd name="T0" fmla="*/ 49 w 49"/>
                <a:gd name="T1" fmla="*/ 11 h 92"/>
                <a:gd name="T2" fmla="*/ 35 w 49"/>
                <a:gd name="T3" fmla="*/ 0 h 92"/>
                <a:gd name="T4" fmla="*/ 15 w 49"/>
                <a:gd name="T5" fmla="*/ 0 h 92"/>
                <a:gd name="T6" fmla="*/ 0 w 49"/>
                <a:gd name="T7" fmla="*/ 11 h 92"/>
                <a:gd name="T8" fmla="*/ 0 w 49"/>
                <a:gd name="T9" fmla="*/ 36 h 92"/>
                <a:gd name="T10" fmla="*/ 0 w 49"/>
                <a:gd name="T11" fmla="*/ 36 h 92"/>
                <a:gd name="T12" fmla="*/ 0 w 49"/>
                <a:gd name="T13" fmla="*/ 36 h 92"/>
                <a:gd name="T14" fmla="*/ 5 w 49"/>
                <a:gd name="T15" fmla="*/ 41 h 92"/>
                <a:gd name="T16" fmla="*/ 9 w 49"/>
                <a:gd name="T17" fmla="*/ 36 h 92"/>
                <a:gd name="T18" fmla="*/ 9 w 49"/>
                <a:gd name="T19" fmla="*/ 36 h 92"/>
                <a:gd name="T20" fmla="*/ 9 w 49"/>
                <a:gd name="T21" fmla="*/ 36 h 92"/>
                <a:gd name="T22" fmla="*/ 9 w 49"/>
                <a:gd name="T23" fmla="*/ 13 h 92"/>
                <a:gd name="T24" fmla="*/ 12 w 49"/>
                <a:gd name="T25" fmla="*/ 13 h 92"/>
                <a:gd name="T26" fmla="*/ 12 w 49"/>
                <a:gd name="T27" fmla="*/ 87 h 92"/>
                <a:gd name="T28" fmla="*/ 18 w 49"/>
                <a:gd name="T29" fmla="*/ 92 h 92"/>
                <a:gd name="T30" fmla="*/ 23 w 49"/>
                <a:gd name="T31" fmla="*/ 87 h 92"/>
                <a:gd name="T32" fmla="*/ 23 w 49"/>
                <a:gd name="T33" fmla="*/ 39 h 92"/>
                <a:gd name="T34" fmla="*/ 26 w 49"/>
                <a:gd name="T35" fmla="*/ 39 h 92"/>
                <a:gd name="T36" fmla="*/ 26 w 49"/>
                <a:gd name="T37" fmla="*/ 87 h 92"/>
                <a:gd name="T38" fmla="*/ 26 w 49"/>
                <a:gd name="T39" fmla="*/ 87 h 92"/>
                <a:gd name="T40" fmla="*/ 32 w 49"/>
                <a:gd name="T41" fmla="*/ 92 h 92"/>
                <a:gd name="T42" fmla="*/ 38 w 49"/>
                <a:gd name="T43" fmla="*/ 87 h 92"/>
                <a:gd name="T44" fmla="*/ 38 w 49"/>
                <a:gd name="T45" fmla="*/ 13 h 92"/>
                <a:gd name="T46" fmla="*/ 41 w 49"/>
                <a:gd name="T47" fmla="*/ 13 h 92"/>
                <a:gd name="T48" fmla="*/ 41 w 49"/>
                <a:gd name="T49" fmla="*/ 36 h 92"/>
                <a:gd name="T50" fmla="*/ 41 w 49"/>
                <a:gd name="T51" fmla="*/ 36 h 92"/>
                <a:gd name="T52" fmla="*/ 41 w 49"/>
                <a:gd name="T53" fmla="*/ 36 h 92"/>
                <a:gd name="T54" fmla="*/ 45 w 49"/>
                <a:gd name="T55" fmla="*/ 41 h 92"/>
                <a:gd name="T56" fmla="*/ 49 w 49"/>
                <a:gd name="T57" fmla="*/ 36 h 92"/>
                <a:gd name="T58" fmla="*/ 49 w 49"/>
                <a:gd name="T59" fmla="*/ 36 h 92"/>
                <a:gd name="T60" fmla="*/ 49 w 49"/>
                <a:gd name="T61" fmla="*/ 11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9" h="92">
                  <a:moveTo>
                    <a:pt x="49" y="11"/>
                  </a:moveTo>
                  <a:cubicBezTo>
                    <a:pt x="48" y="0"/>
                    <a:pt x="35" y="0"/>
                    <a:pt x="3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11"/>
                    <a:pt x="0" y="11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9"/>
                    <a:pt x="2" y="41"/>
                    <a:pt x="5" y="41"/>
                  </a:cubicBezTo>
                  <a:cubicBezTo>
                    <a:pt x="7" y="41"/>
                    <a:pt x="9" y="39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87"/>
                    <a:pt x="12" y="87"/>
                    <a:pt x="12" y="87"/>
                  </a:cubicBezTo>
                  <a:cubicBezTo>
                    <a:pt x="12" y="90"/>
                    <a:pt x="14" y="92"/>
                    <a:pt x="18" y="92"/>
                  </a:cubicBezTo>
                  <a:cubicBezTo>
                    <a:pt x="21" y="92"/>
                    <a:pt x="23" y="90"/>
                    <a:pt x="23" y="87"/>
                  </a:cubicBezTo>
                  <a:cubicBezTo>
                    <a:pt x="23" y="39"/>
                    <a:pt x="23" y="39"/>
                    <a:pt x="23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87"/>
                    <a:pt x="26" y="87"/>
                    <a:pt x="26" y="87"/>
                  </a:cubicBezTo>
                  <a:cubicBezTo>
                    <a:pt x="26" y="87"/>
                    <a:pt x="26" y="87"/>
                    <a:pt x="26" y="87"/>
                  </a:cubicBezTo>
                  <a:cubicBezTo>
                    <a:pt x="26" y="90"/>
                    <a:pt x="29" y="92"/>
                    <a:pt x="32" y="92"/>
                  </a:cubicBezTo>
                  <a:cubicBezTo>
                    <a:pt x="35" y="92"/>
                    <a:pt x="38" y="90"/>
                    <a:pt x="38" y="87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1" y="39"/>
                    <a:pt x="43" y="41"/>
                    <a:pt x="45" y="41"/>
                  </a:cubicBezTo>
                  <a:cubicBezTo>
                    <a:pt x="47" y="41"/>
                    <a:pt x="49" y="39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lnTo>
                    <a:pt x="49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CR" kern="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46" name="Group 45"/>
          <p:cNvGrpSpPr/>
          <p:nvPr/>
        </p:nvGrpSpPr>
        <p:grpSpPr bwMode="gray">
          <a:xfrm>
            <a:off x="1181125" y="2103752"/>
            <a:ext cx="210623" cy="501484"/>
            <a:chOff x="634348" y="2705229"/>
            <a:chExt cx="227532" cy="541741"/>
          </a:xfrm>
          <a:solidFill>
            <a:srgbClr val="7C2529"/>
          </a:solidFill>
        </p:grpSpPr>
        <p:sp>
          <p:nvSpPr>
            <p:cNvPr id="47" name="Oval 95726"/>
            <p:cNvSpPr>
              <a:spLocks noChangeArrowheads="1"/>
            </p:cNvSpPr>
            <p:nvPr/>
          </p:nvSpPr>
          <p:spPr bwMode="gray">
            <a:xfrm>
              <a:off x="699356" y="2705229"/>
              <a:ext cx="97514" cy="9751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CR" kern="0" dirty="0">
                <a:solidFill>
                  <a:prstClr val="black"/>
                </a:solidFill>
              </a:endParaRPr>
            </a:p>
          </p:txBody>
        </p:sp>
        <p:sp>
          <p:nvSpPr>
            <p:cNvPr id="48" name="Freeform 95727"/>
            <p:cNvSpPr>
              <a:spLocks/>
            </p:cNvSpPr>
            <p:nvPr/>
          </p:nvSpPr>
          <p:spPr bwMode="gray">
            <a:xfrm>
              <a:off x="634348" y="2813576"/>
              <a:ext cx="227532" cy="433394"/>
            </a:xfrm>
            <a:custGeom>
              <a:avLst/>
              <a:gdLst>
                <a:gd name="T0" fmla="*/ 49 w 49"/>
                <a:gd name="T1" fmla="*/ 11 h 92"/>
                <a:gd name="T2" fmla="*/ 35 w 49"/>
                <a:gd name="T3" fmla="*/ 0 h 92"/>
                <a:gd name="T4" fmla="*/ 15 w 49"/>
                <a:gd name="T5" fmla="*/ 0 h 92"/>
                <a:gd name="T6" fmla="*/ 0 w 49"/>
                <a:gd name="T7" fmla="*/ 11 h 92"/>
                <a:gd name="T8" fmla="*/ 0 w 49"/>
                <a:gd name="T9" fmla="*/ 36 h 92"/>
                <a:gd name="T10" fmla="*/ 0 w 49"/>
                <a:gd name="T11" fmla="*/ 36 h 92"/>
                <a:gd name="T12" fmla="*/ 0 w 49"/>
                <a:gd name="T13" fmla="*/ 36 h 92"/>
                <a:gd name="T14" fmla="*/ 5 w 49"/>
                <a:gd name="T15" fmla="*/ 41 h 92"/>
                <a:gd name="T16" fmla="*/ 9 w 49"/>
                <a:gd name="T17" fmla="*/ 36 h 92"/>
                <a:gd name="T18" fmla="*/ 9 w 49"/>
                <a:gd name="T19" fmla="*/ 36 h 92"/>
                <a:gd name="T20" fmla="*/ 9 w 49"/>
                <a:gd name="T21" fmla="*/ 36 h 92"/>
                <a:gd name="T22" fmla="*/ 9 w 49"/>
                <a:gd name="T23" fmla="*/ 13 h 92"/>
                <a:gd name="T24" fmla="*/ 12 w 49"/>
                <a:gd name="T25" fmla="*/ 13 h 92"/>
                <a:gd name="T26" fmla="*/ 12 w 49"/>
                <a:gd name="T27" fmla="*/ 87 h 92"/>
                <a:gd name="T28" fmla="*/ 18 w 49"/>
                <a:gd name="T29" fmla="*/ 92 h 92"/>
                <a:gd name="T30" fmla="*/ 23 w 49"/>
                <a:gd name="T31" fmla="*/ 87 h 92"/>
                <a:gd name="T32" fmla="*/ 23 w 49"/>
                <a:gd name="T33" fmla="*/ 39 h 92"/>
                <a:gd name="T34" fmla="*/ 26 w 49"/>
                <a:gd name="T35" fmla="*/ 39 h 92"/>
                <a:gd name="T36" fmla="*/ 26 w 49"/>
                <a:gd name="T37" fmla="*/ 87 h 92"/>
                <a:gd name="T38" fmla="*/ 26 w 49"/>
                <a:gd name="T39" fmla="*/ 87 h 92"/>
                <a:gd name="T40" fmla="*/ 32 w 49"/>
                <a:gd name="T41" fmla="*/ 92 h 92"/>
                <a:gd name="T42" fmla="*/ 38 w 49"/>
                <a:gd name="T43" fmla="*/ 87 h 92"/>
                <a:gd name="T44" fmla="*/ 38 w 49"/>
                <a:gd name="T45" fmla="*/ 13 h 92"/>
                <a:gd name="T46" fmla="*/ 41 w 49"/>
                <a:gd name="T47" fmla="*/ 13 h 92"/>
                <a:gd name="T48" fmla="*/ 41 w 49"/>
                <a:gd name="T49" fmla="*/ 36 h 92"/>
                <a:gd name="T50" fmla="*/ 41 w 49"/>
                <a:gd name="T51" fmla="*/ 36 h 92"/>
                <a:gd name="T52" fmla="*/ 41 w 49"/>
                <a:gd name="T53" fmla="*/ 36 h 92"/>
                <a:gd name="T54" fmla="*/ 45 w 49"/>
                <a:gd name="T55" fmla="*/ 41 h 92"/>
                <a:gd name="T56" fmla="*/ 49 w 49"/>
                <a:gd name="T57" fmla="*/ 36 h 92"/>
                <a:gd name="T58" fmla="*/ 49 w 49"/>
                <a:gd name="T59" fmla="*/ 36 h 92"/>
                <a:gd name="T60" fmla="*/ 49 w 49"/>
                <a:gd name="T61" fmla="*/ 11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9" h="92">
                  <a:moveTo>
                    <a:pt x="49" y="11"/>
                  </a:moveTo>
                  <a:cubicBezTo>
                    <a:pt x="48" y="0"/>
                    <a:pt x="35" y="0"/>
                    <a:pt x="3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11"/>
                    <a:pt x="0" y="11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9"/>
                    <a:pt x="2" y="41"/>
                    <a:pt x="5" y="41"/>
                  </a:cubicBezTo>
                  <a:cubicBezTo>
                    <a:pt x="7" y="41"/>
                    <a:pt x="9" y="39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87"/>
                    <a:pt x="12" y="87"/>
                    <a:pt x="12" y="87"/>
                  </a:cubicBezTo>
                  <a:cubicBezTo>
                    <a:pt x="12" y="90"/>
                    <a:pt x="14" y="92"/>
                    <a:pt x="18" y="92"/>
                  </a:cubicBezTo>
                  <a:cubicBezTo>
                    <a:pt x="21" y="92"/>
                    <a:pt x="23" y="90"/>
                    <a:pt x="23" y="87"/>
                  </a:cubicBezTo>
                  <a:cubicBezTo>
                    <a:pt x="23" y="39"/>
                    <a:pt x="23" y="39"/>
                    <a:pt x="23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87"/>
                    <a:pt x="26" y="87"/>
                    <a:pt x="26" y="87"/>
                  </a:cubicBezTo>
                  <a:cubicBezTo>
                    <a:pt x="26" y="87"/>
                    <a:pt x="26" y="87"/>
                    <a:pt x="26" y="87"/>
                  </a:cubicBezTo>
                  <a:cubicBezTo>
                    <a:pt x="26" y="90"/>
                    <a:pt x="29" y="92"/>
                    <a:pt x="32" y="92"/>
                  </a:cubicBezTo>
                  <a:cubicBezTo>
                    <a:pt x="35" y="92"/>
                    <a:pt x="38" y="90"/>
                    <a:pt x="38" y="87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1" y="39"/>
                    <a:pt x="43" y="41"/>
                    <a:pt x="45" y="41"/>
                  </a:cubicBezTo>
                  <a:cubicBezTo>
                    <a:pt x="47" y="41"/>
                    <a:pt x="49" y="39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lnTo>
                    <a:pt x="49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CR" kern="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49" name="Group 48"/>
          <p:cNvGrpSpPr/>
          <p:nvPr/>
        </p:nvGrpSpPr>
        <p:grpSpPr bwMode="gray">
          <a:xfrm>
            <a:off x="1446677" y="2103752"/>
            <a:ext cx="202300" cy="501484"/>
            <a:chOff x="-1115175" y="2195853"/>
            <a:chExt cx="176961" cy="438671"/>
          </a:xfrm>
          <a:solidFill>
            <a:srgbClr val="7C2529"/>
          </a:solidFill>
        </p:grpSpPr>
        <p:sp>
          <p:nvSpPr>
            <p:cNvPr id="50" name="Oval 95774"/>
            <p:cNvSpPr>
              <a:spLocks noChangeArrowheads="1"/>
            </p:cNvSpPr>
            <p:nvPr/>
          </p:nvSpPr>
          <p:spPr bwMode="gray">
            <a:xfrm>
              <a:off x="-1061789" y="2195853"/>
              <a:ext cx="70188" cy="7018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CR" kern="0" dirty="0">
                <a:solidFill>
                  <a:prstClr val="black"/>
                </a:solidFill>
              </a:endParaRPr>
            </a:p>
          </p:txBody>
        </p:sp>
        <p:sp>
          <p:nvSpPr>
            <p:cNvPr id="51" name="Freeform 95775"/>
            <p:cNvSpPr>
              <a:spLocks/>
            </p:cNvSpPr>
            <p:nvPr/>
          </p:nvSpPr>
          <p:spPr bwMode="gray">
            <a:xfrm>
              <a:off x="-1115175" y="2283586"/>
              <a:ext cx="176961" cy="350938"/>
            </a:xfrm>
            <a:custGeom>
              <a:avLst/>
              <a:gdLst>
                <a:gd name="T0" fmla="*/ 57 w 65"/>
                <a:gd name="T1" fmla="*/ 11 h 92"/>
                <a:gd name="T2" fmla="*/ 39 w 65"/>
                <a:gd name="T3" fmla="*/ 0 h 92"/>
                <a:gd name="T4" fmla="*/ 26 w 65"/>
                <a:gd name="T5" fmla="*/ 0 h 92"/>
                <a:gd name="T6" fmla="*/ 8 w 65"/>
                <a:gd name="T7" fmla="*/ 11 h 92"/>
                <a:gd name="T8" fmla="*/ 0 w 65"/>
                <a:gd name="T9" fmla="*/ 36 h 92"/>
                <a:gd name="T10" fmla="*/ 0 w 65"/>
                <a:gd name="T11" fmla="*/ 36 h 92"/>
                <a:gd name="T12" fmla="*/ 0 w 65"/>
                <a:gd name="T13" fmla="*/ 36 h 92"/>
                <a:gd name="T14" fmla="*/ 4 w 65"/>
                <a:gd name="T15" fmla="*/ 41 h 92"/>
                <a:gd name="T16" fmla="*/ 8 w 65"/>
                <a:gd name="T17" fmla="*/ 36 h 92"/>
                <a:gd name="T18" fmla="*/ 8 w 65"/>
                <a:gd name="T19" fmla="*/ 36 h 92"/>
                <a:gd name="T20" fmla="*/ 8 w 65"/>
                <a:gd name="T21" fmla="*/ 36 h 92"/>
                <a:gd name="T22" fmla="*/ 17 w 65"/>
                <a:gd name="T23" fmla="*/ 13 h 92"/>
                <a:gd name="T24" fmla="*/ 19 w 65"/>
                <a:gd name="T25" fmla="*/ 13 h 92"/>
                <a:gd name="T26" fmla="*/ 6 w 65"/>
                <a:gd name="T27" fmla="*/ 53 h 92"/>
                <a:gd name="T28" fmla="*/ 19 w 65"/>
                <a:gd name="T29" fmla="*/ 53 h 92"/>
                <a:gd name="T30" fmla="*/ 19 w 65"/>
                <a:gd name="T31" fmla="*/ 86 h 92"/>
                <a:gd name="T32" fmla="*/ 25 w 65"/>
                <a:gd name="T33" fmla="*/ 92 h 92"/>
                <a:gd name="T34" fmla="*/ 31 w 65"/>
                <a:gd name="T35" fmla="*/ 86 h 92"/>
                <a:gd name="T36" fmla="*/ 31 w 65"/>
                <a:gd name="T37" fmla="*/ 53 h 92"/>
                <a:gd name="T38" fmla="*/ 34 w 65"/>
                <a:gd name="T39" fmla="*/ 53 h 92"/>
                <a:gd name="T40" fmla="*/ 34 w 65"/>
                <a:gd name="T41" fmla="*/ 86 h 92"/>
                <a:gd name="T42" fmla="*/ 34 w 65"/>
                <a:gd name="T43" fmla="*/ 86 h 92"/>
                <a:gd name="T44" fmla="*/ 40 w 65"/>
                <a:gd name="T45" fmla="*/ 92 h 92"/>
                <a:gd name="T46" fmla="*/ 45 w 65"/>
                <a:gd name="T47" fmla="*/ 86 h 92"/>
                <a:gd name="T48" fmla="*/ 45 w 65"/>
                <a:gd name="T49" fmla="*/ 53 h 92"/>
                <a:gd name="T50" fmla="*/ 59 w 65"/>
                <a:gd name="T51" fmla="*/ 53 h 92"/>
                <a:gd name="T52" fmla="*/ 45 w 65"/>
                <a:gd name="T53" fmla="*/ 13 h 92"/>
                <a:gd name="T54" fmla="*/ 48 w 65"/>
                <a:gd name="T55" fmla="*/ 13 h 92"/>
                <a:gd name="T56" fmla="*/ 56 w 65"/>
                <a:gd name="T57" fmla="*/ 36 h 92"/>
                <a:gd name="T58" fmla="*/ 56 w 65"/>
                <a:gd name="T59" fmla="*/ 36 h 92"/>
                <a:gd name="T60" fmla="*/ 56 w 65"/>
                <a:gd name="T61" fmla="*/ 36 h 92"/>
                <a:gd name="T62" fmla="*/ 61 w 65"/>
                <a:gd name="T63" fmla="*/ 40 h 92"/>
                <a:gd name="T64" fmla="*/ 65 w 65"/>
                <a:gd name="T65" fmla="*/ 36 h 92"/>
                <a:gd name="T66" fmla="*/ 65 w 65"/>
                <a:gd name="T67" fmla="*/ 36 h 92"/>
                <a:gd name="T68" fmla="*/ 57 w 65"/>
                <a:gd name="T69" fmla="*/ 11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5" h="92">
                  <a:moveTo>
                    <a:pt x="57" y="11"/>
                  </a:moveTo>
                  <a:cubicBezTo>
                    <a:pt x="56" y="0"/>
                    <a:pt x="39" y="0"/>
                    <a:pt x="39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2" y="0"/>
                    <a:pt x="8" y="11"/>
                    <a:pt x="8" y="11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9"/>
                    <a:pt x="2" y="41"/>
                    <a:pt x="4" y="41"/>
                  </a:cubicBezTo>
                  <a:cubicBezTo>
                    <a:pt x="6" y="41"/>
                    <a:pt x="8" y="39"/>
                    <a:pt x="8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19" y="53"/>
                    <a:pt x="19" y="53"/>
                    <a:pt x="19" y="53"/>
                  </a:cubicBezTo>
                  <a:cubicBezTo>
                    <a:pt x="19" y="86"/>
                    <a:pt x="19" y="86"/>
                    <a:pt x="19" y="86"/>
                  </a:cubicBezTo>
                  <a:cubicBezTo>
                    <a:pt x="19" y="89"/>
                    <a:pt x="22" y="92"/>
                    <a:pt x="25" y="92"/>
                  </a:cubicBezTo>
                  <a:cubicBezTo>
                    <a:pt x="28" y="92"/>
                    <a:pt x="31" y="89"/>
                    <a:pt x="31" y="86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86"/>
                    <a:pt x="34" y="86"/>
                    <a:pt x="34" y="86"/>
                  </a:cubicBezTo>
                  <a:cubicBezTo>
                    <a:pt x="34" y="86"/>
                    <a:pt x="34" y="86"/>
                    <a:pt x="34" y="86"/>
                  </a:cubicBezTo>
                  <a:cubicBezTo>
                    <a:pt x="34" y="89"/>
                    <a:pt x="36" y="92"/>
                    <a:pt x="40" y="92"/>
                  </a:cubicBezTo>
                  <a:cubicBezTo>
                    <a:pt x="43" y="92"/>
                    <a:pt x="45" y="89"/>
                    <a:pt x="45" y="86"/>
                  </a:cubicBezTo>
                  <a:cubicBezTo>
                    <a:pt x="45" y="53"/>
                    <a:pt x="45" y="53"/>
                    <a:pt x="45" y="53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45" y="13"/>
                    <a:pt x="45" y="13"/>
                    <a:pt x="45" y="13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8"/>
                    <a:pt x="58" y="40"/>
                    <a:pt x="61" y="40"/>
                  </a:cubicBezTo>
                  <a:cubicBezTo>
                    <a:pt x="63" y="40"/>
                    <a:pt x="65" y="38"/>
                    <a:pt x="65" y="36"/>
                  </a:cubicBezTo>
                  <a:cubicBezTo>
                    <a:pt x="65" y="36"/>
                    <a:pt x="65" y="36"/>
                    <a:pt x="65" y="36"/>
                  </a:cubicBezTo>
                  <a:lnTo>
                    <a:pt x="57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CR" kern="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52" name="Group 51"/>
          <p:cNvGrpSpPr/>
          <p:nvPr/>
        </p:nvGrpSpPr>
        <p:grpSpPr bwMode="gray">
          <a:xfrm>
            <a:off x="1703906" y="2103752"/>
            <a:ext cx="210623" cy="501484"/>
            <a:chOff x="634348" y="2705229"/>
            <a:chExt cx="227532" cy="541741"/>
          </a:xfrm>
          <a:solidFill>
            <a:srgbClr val="7C2529"/>
          </a:solidFill>
        </p:grpSpPr>
        <p:sp>
          <p:nvSpPr>
            <p:cNvPr id="53" name="Oval 95726"/>
            <p:cNvSpPr>
              <a:spLocks noChangeArrowheads="1"/>
            </p:cNvSpPr>
            <p:nvPr/>
          </p:nvSpPr>
          <p:spPr bwMode="gray">
            <a:xfrm>
              <a:off x="699356" y="2705229"/>
              <a:ext cx="97514" cy="97514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CR" kern="0" dirty="0">
                <a:solidFill>
                  <a:prstClr val="black"/>
                </a:solidFill>
              </a:endParaRPr>
            </a:p>
          </p:txBody>
        </p:sp>
        <p:sp>
          <p:nvSpPr>
            <p:cNvPr id="54" name="Freeform 95727"/>
            <p:cNvSpPr>
              <a:spLocks/>
            </p:cNvSpPr>
            <p:nvPr/>
          </p:nvSpPr>
          <p:spPr bwMode="gray">
            <a:xfrm>
              <a:off x="634348" y="2813576"/>
              <a:ext cx="227532" cy="433394"/>
            </a:xfrm>
            <a:custGeom>
              <a:avLst/>
              <a:gdLst>
                <a:gd name="T0" fmla="*/ 49 w 49"/>
                <a:gd name="T1" fmla="*/ 11 h 92"/>
                <a:gd name="T2" fmla="*/ 35 w 49"/>
                <a:gd name="T3" fmla="*/ 0 h 92"/>
                <a:gd name="T4" fmla="*/ 15 w 49"/>
                <a:gd name="T5" fmla="*/ 0 h 92"/>
                <a:gd name="T6" fmla="*/ 0 w 49"/>
                <a:gd name="T7" fmla="*/ 11 h 92"/>
                <a:gd name="T8" fmla="*/ 0 w 49"/>
                <a:gd name="T9" fmla="*/ 36 h 92"/>
                <a:gd name="T10" fmla="*/ 0 w 49"/>
                <a:gd name="T11" fmla="*/ 36 h 92"/>
                <a:gd name="T12" fmla="*/ 0 w 49"/>
                <a:gd name="T13" fmla="*/ 36 h 92"/>
                <a:gd name="T14" fmla="*/ 5 w 49"/>
                <a:gd name="T15" fmla="*/ 41 h 92"/>
                <a:gd name="T16" fmla="*/ 9 w 49"/>
                <a:gd name="T17" fmla="*/ 36 h 92"/>
                <a:gd name="T18" fmla="*/ 9 w 49"/>
                <a:gd name="T19" fmla="*/ 36 h 92"/>
                <a:gd name="T20" fmla="*/ 9 w 49"/>
                <a:gd name="T21" fmla="*/ 36 h 92"/>
                <a:gd name="T22" fmla="*/ 9 w 49"/>
                <a:gd name="T23" fmla="*/ 13 h 92"/>
                <a:gd name="T24" fmla="*/ 12 w 49"/>
                <a:gd name="T25" fmla="*/ 13 h 92"/>
                <a:gd name="T26" fmla="*/ 12 w 49"/>
                <a:gd name="T27" fmla="*/ 87 h 92"/>
                <a:gd name="T28" fmla="*/ 18 w 49"/>
                <a:gd name="T29" fmla="*/ 92 h 92"/>
                <a:gd name="T30" fmla="*/ 23 w 49"/>
                <a:gd name="T31" fmla="*/ 87 h 92"/>
                <a:gd name="T32" fmla="*/ 23 w 49"/>
                <a:gd name="T33" fmla="*/ 39 h 92"/>
                <a:gd name="T34" fmla="*/ 26 w 49"/>
                <a:gd name="T35" fmla="*/ 39 h 92"/>
                <a:gd name="T36" fmla="*/ 26 w 49"/>
                <a:gd name="T37" fmla="*/ 87 h 92"/>
                <a:gd name="T38" fmla="*/ 26 w 49"/>
                <a:gd name="T39" fmla="*/ 87 h 92"/>
                <a:gd name="T40" fmla="*/ 32 w 49"/>
                <a:gd name="T41" fmla="*/ 92 h 92"/>
                <a:gd name="T42" fmla="*/ 38 w 49"/>
                <a:gd name="T43" fmla="*/ 87 h 92"/>
                <a:gd name="T44" fmla="*/ 38 w 49"/>
                <a:gd name="T45" fmla="*/ 13 h 92"/>
                <a:gd name="T46" fmla="*/ 41 w 49"/>
                <a:gd name="T47" fmla="*/ 13 h 92"/>
                <a:gd name="T48" fmla="*/ 41 w 49"/>
                <a:gd name="T49" fmla="*/ 36 h 92"/>
                <a:gd name="T50" fmla="*/ 41 w 49"/>
                <a:gd name="T51" fmla="*/ 36 h 92"/>
                <a:gd name="T52" fmla="*/ 41 w 49"/>
                <a:gd name="T53" fmla="*/ 36 h 92"/>
                <a:gd name="T54" fmla="*/ 45 w 49"/>
                <a:gd name="T55" fmla="*/ 41 h 92"/>
                <a:gd name="T56" fmla="*/ 49 w 49"/>
                <a:gd name="T57" fmla="*/ 36 h 92"/>
                <a:gd name="T58" fmla="*/ 49 w 49"/>
                <a:gd name="T59" fmla="*/ 36 h 92"/>
                <a:gd name="T60" fmla="*/ 49 w 49"/>
                <a:gd name="T61" fmla="*/ 11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9" h="92">
                  <a:moveTo>
                    <a:pt x="49" y="11"/>
                  </a:moveTo>
                  <a:cubicBezTo>
                    <a:pt x="48" y="0"/>
                    <a:pt x="35" y="0"/>
                    <a:pt x="3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11"/>
                    <a:pt x="0" y="11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9"/>
                    <a:pt x="2" y="41"/>
                    <a:pt x="5" y="41"/>
                  </a:cubicBezTo>
                  <a:cubicBezTo>
                    <a:pt x="7" y="41"/>
                    <a:pt x="9" y="39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87"/>
                    <a:pt x="12" y="87"/>
                    <a:pt x="12" y="87"/>
                  </a:cubicBezTo>
                  <a:cubicBezTo>
                    <a:pt x="12" y="90"/>
                    <a:pt x="14" y="92"/>
                    <a:pt x="18" y="92"/>
                  </a:cubicBezTo>
                  <a:cubicBezTo>
                    <a:pt x="21" y="92"/>
                    <a:pt x="23" y="90"/>
                    <a:pt x="23" y="87"/>
                  </a:cubicBezTo>
                  <a:cubicBezTo>
                    <a:pt x="23" y="39"/>
                    <a:pt x="23" y="39"/>
                    <a:pt x="23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87"/>
                    <a:pt x="26" y="87"/>
                    <a:pt x="26" y="87"/>
                  </a:cubicBezTo>
                  <a:cubicBezTo>
                    <a:pt x="26" y="87"/>
                    <a:pt x="26" y="87"/>
                    <a:pt x="26" y="87"/>
                  </a:cubicBezTo>
                  <a:cubicBezTo>
                    <a:pt x="26" y="90"/>
                    <a:pt x="29" y="92"/>
                    <a:pt x="32" y="92"/>
                  </a:cubicBezTo>
                  <a:cubicBezTo>
                    <a:pt x="35" y="92"/>
                    <a:pt x="38" y="90"/>
                    <a:pt x="38" y="87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1" y="39"/>
                    <a:pt x="43" y="41"/>
                    <a:pt x="45" y="41"/>
                  </a:cubicBezTo>
                  <a:cubicBezTo>
                    <a:pt x="47" y="41"/>
                    <a:pt x="49" y="39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lnTo>
                    <a:pt x="49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CR" kern="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55" name="Group 54"/>
          <p:cNvGrpSpPr/>
          <p:nvPr/>
        </p:nvGrpSpPr>
        <p:grpSpPr bwMode="gray">
          <a:xfrm>
            <a:off x="1969457" y="2103752"/>
            <a:ext cx="202300" cy="501484"/>
            <a:chOff x="-1115175" y="2195853"/>
            <a:chExt cx="176961" cy="438671"/>
          </a:xfrm>
          <a:solidFill>
            <a:srgbClr val="7C2529"/>
          </a:solidFill>
        </p:grpSpPr>
        <p:sp>
          <p:nvSpPr>
            <p:cNvPr id="56" name="Oval 95774"/>
            <p:cNvSpPr>
              <a:spLocks noChangeArrowheads="1"/>
            </p:cNvSpPr>
            <p:nvPr/>
          </p:nvSpPr>
          <p:spPr bwMode="gray">
            <a:xfrm>
              <a:off x="-1061789" y="2195853"/>
              <a:ext cx="70188" cy="7018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CR" kern="0" dirty="0">
                <a:solidFill>
                  <a:prstClr val="black"/>
                </a:solidFill>
              </a:endParaRPr>
            </a:p>
          </p:txBody>
        </p:sp>
        <p:sp>
          <p:nvSpPr>
            <p:cNvPr id="57" name="Freeform 95775"/>
            <p:cNvSpPr>
              <a:spLocks/>
            </p:cNvSpPr>
            <p:nvPr/>
          </p:nvSpPr>
          <p:spPr bwMode="gray">
            <a:xfrm>
              <a:off x="-1115175" y="2283586"/>
              <a:ext cx="176961" cy="350938"/>
            </a:xfrm>
            <a:custGeom>
              <a:avLst/>
              <a:gdLst>
                <a:gd name="T0" fmla="*/ 57 w 65"/>
                <a:gd name="T1" fmla="*/ 11 h 92"/>
                <a:gd name="T2" fmla="*/ 39 w 65"/>
                <a:gd name="T3" fmla="*/ 0 h 92"/>
                <a:gd name="T4" fmla="*/ 26 w 65"/>
                <a:gd name="T5" fmla="*/ 0 h 92"/>
                <a:gd name="T6" fmla="*/ 8 w 65"/>
                <a:gd name="T7" fmla="*/ 11 h 92"/>
                <a:gd name="T8" fmla="*/ 0 w 65"/>
                <a:gd name="T9" fmla="*/ 36 h 92"/>
                <a:gd name="T10" fmla="*/ 0 w 65"/>
                <a:gd name="T11" fmla="*/ 36 h 92"/>
                <a:gd name="T12" fmla="*/ 0 w 65"/>
                <a:gd name="T13" fmla="*/ 36 h 92"/>
                <a:gd name="T14" fmla="*/ 4 w 65"/>
                <a:gd name="T15" fmla="*/ 41 h 92"/>
                <a:gd name="T16" fmla="*/ 8 w 65"/>
                <a:gd name="T17" fmla="*/ 36 h 92"/>
                <a:gd name="T18" fmla="*/ 8 w 65"/>
                <a:gd name="T19" fmla="*/ 36 h 92"/>
                <a:gd name="T20" fmla="*/ 8 w 65"/>
                <a:gd name="T21" fmla="*/ 36 h 92"/>
                <a:gd name="T22" fmla="*/ 17 w 65"/>
                <a:gd name="T23" fmla="*/ 13 h 92"/>
                <a:gd name="T24" fmla="*/ 19 w 65"/>
                <a:gd name="T25" fmla="*/ 13 h 92"/>
                <a:gd name="T26" fmla="*/ 6 w 65"/>
                <a:gd name="T27" fmla="*/ 53 h 92"/>
                <a:gd name="T28" fmla="*/ 19 w 65"/>
                <a:gd name="T29" fmla="*/ 53 h 92"/>
                <a:gd name="T30" fmla="*/ 19 w 65"/>
                <a:gd name="T31" fmla="*/ 86 h 92"/>
                <a:gd name="T32" fmla="*/ 25 w 65"/>
                <a:gd name="T33" fmla="*/ 92 h 92"/>
                <a:gd name="T34" fmla="*/ 31 w 65"/>
                <a:gd name="T35" fmla="*/ 86 h 92"/>
                <a:gd name="T36" fmla="*/ 31 w 65"/>
                <a:gd name="T37" fmla="*/ 53 h 92"/>
                <a:gd name="T38" fmla="*/ 34 w 65"/>
                <a:gd name="T39" fmla="*/ 53 h 92"/>
                <a:gd name="T40" fmla="*/ 34 w 65"/>
                <a:gd name="T41" fmla="*/ 86 h 92"/>
                <a:gd name="T42" fmla="*/ 34 w 65"/>
                <a:gd name="T43" fmla="*/ 86 h 92"/>
                <a:gd name="T44" fmla="*/ 40 w 65"/>
                <a:gd name="T45" fmla="*/ 92 h 92"/>
                <a:gd name="T46" fmla="*/ 45 w 65"/>
                <a:gd name="T47" fmla="*/ 86 h 92"/>
                <a:gd name="T48" fmla="*/ 45 w 65"/>
                <a:gd name="T49" fmla="*/ 53 h 92"/>
                <a:gd name="T50" fmla="*/ 59 w 65"/>
                <a:gd name="T51" fmla="*/ 53 h 92"/>
                <a:gd name="T52" fmla="*/ 45 w 65"/>
                <a:gd name="T53" fmla="*/ 13 h 92"/>
                <a:gd name="T54" fmla="*/ 48 w 65"/>
                <a:gd name="T55" fmla="*/ 13 h 92"/>
                <a:gd name="T56" fmla="*/ 56 w 65"/>
                <a:gd name="T57" fmla="*/ 36 h 92"/>
                <a:gd name="T58" fmla="*/ 56 w 65"/>
                <a:gd name="T59" fmla="*/ 36 h 92"/>
                <a:gd name="T60" fmla="*/ 56 w 65"/>
                <a:gd name="T61" fmla="*/ 36 h 92"/>
                <a:gd name="T62" fmla="*/ 61 w 65"/>
                <a:gd name="T63" fmla="*/ 40 h 92"/>
                <a:gd name="T64" fmla="*/ 65 w 65"/>
                <a:gd name="T65" fmla="*/ 36 h 92"/>
                <a:gd name="T66" fmla="*/ 65 w 65"/>
                <a:gd name="T67" fmla="*/ 36 h 92"/>
                <a:gd name="T68" fmla="*/ 57 w 65"/>
                <a:gd name="T69" fmla="*/ 11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5" h="92">
                  <a:moveTo>
                    <a:pt x="57" y="11"/>
                  </a:moveTo>
                  <a:cubicBezTo>
                    <a:pt x="56" y="0"/>
                    <a:pt x="39" y="0"/>
                    <a:pt x="39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2" y="0"/>
                    <a:pt x="8" y="11"/>
                    <a:pt x="8" y="11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9"/>
                    <a:pt x="2" y="41"/>
                    <a:pt x="4" y="41"/>
                  </a:cubicBezTo>
                  <a:cubicBezTo>
                    <a:pt x="6" y="41"/>
                    <a:pt x="8" y="39"/>
                    <a:pt x="8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19" y="53"/>
                    <a:pt x="19" y="53"/>
                    <a:pt x="19" y="53"/>
                  </a:cubicBezTo>
                  <a:cubicBezTo>
                    <a:pt x="19" y="86"/>
                    <a:pt x="19" y="86"/>
                    <a:pt x="19" y="86"/>
                  </a:cubicBezTo>
                  <a:cubicBezTo>
                    <a:pt x="19" y="89"/>
                    <a:pt x="22" y="92"/>
                    <a:pt x="25" y="92"/>
                  </a:cubicBezTo>
                  <a:cubicBezTo>
                    <a:pt x="28" y="92"/>
                    <a:pt x="31" y="89"/>
                    <a:pt x="31" y="86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86"/>
                    <a:pt x="34" y="86"/>
                    <a:pt x="34" y="86"/>
                  </a:cubicBezTo>
                  <a:cubicBezTo>
                    <a:pt x="34" y="86"/>
                    <a:pt x="34" y="86"/>
                    <a:pt x="34" y="86"/>
                  </a:cubicBezTo>
                  <a:cubicBezTo>
                    <a:pt x="34" y="89"/>
                    <a:pt x="36" y="92"/>
                    <a:pt x="40" y="92"/>
                  </a:cubicBezTo>
                  <a:cubicBezTo>
                    <a:pt x="43" y="92"/>
                    <a:pt x="45" y="89"/>
                    <a:pt x="45" y="86"/>
                  </a:cubicBezTo>
                  <a:cubicBezTo>
                    <a:pt x="45" y="53"/>
                    <a:pt x="45" y="53"/>
                    <a:pt x="45" y="53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45" y="13"/>
                    <a:pt x="45" y="13"/>
                    <a:pt x="45" y="13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38"/>
                    <a:pt x="58" y="40"/>
                    <a:pt x="61" y="40"/>
                  </a:cubicBezTo>
                  <a:cubicBezTo>
                    <a:pt x="63" y="40"/>
                    <a:pt x="65" y="38"/>
                    <a:pt x="65" y="36"/>
                  </a:cubicBezTo>
                  <a:cubicBezTo>
                    <a:pt x="65" y="36"/>
                    <a:pt x="65" y="36"/>
                    <a:pt x="65" y="36"/>
                  </a:cubicBezTo>
                  <a:lnTo>
                    <a:pt x="57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CR" kern="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58" name="Group 57"/>
          <p:cNvGrpSpPr/>
          <p:nvPr/>
        </p:nvGrpSpPr>
        <p:grpSpPr bwMode="gray">
          <a:xfrm>
            <a:off x="1461782" y="5518869"/>
            <a:ext cx="451093" cy="653331"/>
            <a:chOff x="7799412" y="4451094"/>
            <a:chExt cx="1069150" cy="1548481"/>
          </a:xfrm>
        </p:grpSpPr>
        <p:sp>
          <p:nvSpPr>
            <p:cNvPr id="59" name="Rounded Rectangle 14365"/>
            <p:cNvSpPr/>
            <p:nvPr/>
          </p:nvSpPr>
          <p:spPr bwMode="gray">
            <a:xfrm rot="638881">
              <a:off x="8296242" y="4790748"/>
              <a:ext cx="572320" cy="1196443"/>
            </a:xfrm>
            <a:custGeom>
              <a:avLst/>
              <a:gdLst/>
              <a:ahLst/>
              <a:cxnLst/>
              <a:rect l="l" t="t" r="r" b="b"/>
              <a:pathLst>
                <a:path w="689681" h="1441786">
                  <a:moveTo>
                    <a:pt x="110984" y="90992"/>
                  </a:moveTo>
                  <a:lnTo>
                    <a:pt x="152279" y="83228"/>
                  </a:lnTo>
                  <a:cubicBezTo>
                    <a:pt x="177222" y="78538"/>
                    <a:pt x="201245" y="94957"/>
                    <a:pt x="205936" y="119903"/>
                  </a:cubicBezTo>
                  <a:lnTo>
                    <a:pt x="207746" y="129530"/>
                  </a:lnTo>
                  <a:lnTo>
                    <a:pt x="210168" y="129826"/>
                  </a:lnTo>
                  <a:lnTo>
                    <a:pt x="210257" y="142893"/>
                  </a:lnTo>
                  <a:lnTo>
                    <a:pt x="226765" y="230695"/>
                  </a:lnTo>
                  <a:cubicBezTo>
                    <a:pt x="238049" y="257245"/>
                    <a:pt x="256169" y="280718"/>
                    <a:pt x="279449" y="299282"/>
                  </a:cubicBezTo>
                  <a:cubicBezTo>
                    <a:pt x="322883" y="333915"/>
                    <a:pt x="378984" y="347224"/>
                    <a:pt x="432281" y="335240"/>
                  </a:cubicBezTo>
                  <a:cubicBezTo>
                    <a:pt x="432870" y="333342"/>
                    <a:pt x="434122" y="332812"/>
                    <a:pt x="435408" y="332334"/>
                  </a:cubicBezTo>
                  <a:lnTo>
                    <a:pt x="498174" y="308971"/>
                  </a:lnTo>
                  <a:cubicBezTo>
                    <a:pt x="521962" y="300117"/>
                    <a:pt x="548422" y="312223"/>
                    <a:pt x="557275" y="336011"/>
                  </a:cubicBezTo>
                  <a:lnTo>
                    <a:pt x="571933" y="375388"/>
                  </a:lnTo>
                  <a:cubicBezTo>
                    <a:pt x="580787" y="399176"/>
                    <a:pt x="568681" y="425636"/>
                    <a:pt x="544893" y="434490"/>
                  </a:cubicBezTo>
                  <a:lnTo>
                    <a:pt x="503611" y="449856"/>
                  </a:lnTo>
                  <a:lnTo>
                    <a:pt x="504329" y="451848"/>
                  </a:lnTo>
                  <a:lnTo>
                    <a:pt x="489375" y="455155"/>
                  </a:lnTo>
                  <a:lnTo>
                    <a:pt x="482127" y="457853"/>
                  </a:lnTo>
                  <a:lnTo>
                    <a:pt x="477877" y="457697"/>
                  </a:lnTo>
                  <a:cubicBezTo>
                    <a:pt x="381540" y="485832"/>
                    <a:pt x="277374" y="464520"/>
                    <a:pt x="198097" y="401307"/>
                  </a:cubicBezTo>
                  <a:cubicBezTo>
                    <a:pt x="152140" y="364661"/>
                    <a:pt x="118045" y="316726"/>
                    <a:pt x="99284" y="262973"/>
                  </a:cubicBezTo>
                  <a:cubicBezTo>
                    <a:pt x="96466" y="261576"/>
                    <a:pt x="95880" y="259377"/>
                    <a:pt x="95453" y="257109"/>
                  </a:cubicBezTo>
                  <a:lnTo>
                    <a:pt x="90141" y="228852"/>
                  </a:lnTo>
                  <a:cubicBezTo>
                    <a:pt x="83767" y="213568"/>
                    <a:pt x="81026" y="197337"/>
                    <a:pt x="81100" y="180761"/>
                  </a:cubicBezTo>
                  <a:lnTo>
                    <a:pt x="74310" y="144650"/>
                  </a:lnTo>
                  <a:lnTo>
                    <a:pt x="80645" y="114464"/>
                  </a:lnTo>
                  <a:cubicBezTo>
                    <a:pt x="80607" y="114311"/>
                    <a:pt x="80624" y="114163"/>
                    <a:pt x="80641" y="114017"/>
                  </a:cubicBezTo>
                  <a:lnTo>
                    <a:pt x="80735" y="114027"/>
                  </a:lnTo>
                  <a:cubicBezTo>
                    <a:pt x="86026" y="102074"/>
                    <a:pt x="97204" y="93583"/>
                    <a:pt x="110984" y="90992"/>
                  </a:cubicBezTo>
                  <a:close/>
                  <a:moveTo>
                    <a:pt x="117184" y="5897"/>
                  </a:moveTo>
                  <a:cubicBezTo>
                    <a:pt x="129266" y="1948"/>
                    <a:pt x="142832" y="0"/>
                    <a:pt x="158462" y="0"/>
                  </a:cubicBezTo>
                  <a:lnTo>
                    <a:pt x="181513" y="0"/>
                  </a:lnTo>
                  <a:cubicBezTo>
                    <a:pt x="244034" y="0"/>
                    <a:pt x="294717" y="50683"/>
                    <a:pt x="294717" y="113204"/>
                  </a:cubicBezTo>
                  <a:lnTo>
                    <a:pt x="294717" y="118730"/>
                  </a:lnTo>
                  <a:cubicBezTo>
                    <a:pt x="322320" y="150903"/>
                    <a:pt x="361639" y="170186"/>
                    <a:pt x="404580" y="176496"/>
                  </a:cubicBezTo>
                  <a:cubicBezTo>
                    <a:pt x="456139" y="184072"/>
                    <a:pt x="508079" y="172234"/>
                    <a:pt x="550570" y="143925"/>
                  </a:cubicBezTo>
                  <a:cubicBezTo>
                    <a:pt x="550436" y="141592"/>
                    <a:pt x="551722" y="140079"/>
                    <a:pt x="553290" y="138780"/>
                  </a:cubicBezTo>
                  <a:lnTo>
                    <a:pt x="607505" y="93884"/>
                  </a:lnTo>
                  <a:cubicBezTo>
                    <a:pt x="614990" y="87685"/>
                    <a:pt x="626084" y="88728"/>
                    <a:pt x="632283" y="96214"/>
                  </a:cubicBezTo>
                  <a:lnTo>
                    <a:pt x="685638" y="160641"/>
                  </a:lnTo>
                  <a:cubicBezTo>
                    <a:pt x="691836" y="168127"/>
                    <a:pt x="690793" y="179220"/>
                    <a:pt x="683308" y="185419"/>
                  </a:cubicBezTo>
                  <a:lnTo>
                    <a:pt x="629092" y="230315"/>
                  </a:lnTo>
                  <a:lnTo>
                    <a:pt x="620874" y="232847"/>
                  </a:lnTo>
                  <a:cubicBezTo>
                    <a:pt x="554378" y="281256"/>
                    <a:pt x="470863" y="301620"/>
                    <a:pt x="387983" y="289440"/>
                  </a:cubicBezTo>
                  <a:cubicBezTo>
                    <a:pt x="354826" y="284568"/>
                    <a:pt x="323070" y="274678"/>
                    <a:pt x="294717" y="258366"/>
                  </a:cubicBezTo>
                  <a:lnTo>
                    <a:pt x="294717" y="302743"/>
                  </a:lnTo>
                  <a:cubicBezTo>
                    <a:pt x="268833" y="283125"/>
                    <a:pt x="248975" y="258032"/>
                    <a:pt x="236767" y="229532"/>
                  </a:cubicBezTo>
                  <a:lnTo>
                    <a:pt x="219619" y="132766"/>
                  </a:lnTo>
                  <a:lnTo>
                    <a:pt x="219808" y="118312"/>
                  </a:lnTo>
                  <a:lnTo>
                    <a:pt x="217009" y="118039"/>
                  </a:lnTo>
                  <a:lnTo>
                    <a:pt x="215129" y="107428"/>
                  </a:lnTo>
                  <a:cubicBezTo>
                    <a:pt x="210256" y="79937"/>
                    <a:pt x="182798" y="62311"/>
                    <a:pt x="153800" y="68060"/>
                  </a:cubicBezTo>
                  <a:lnTo>
                    <a:pt x="105792" y="77577"/>
                  </a:lnTo>
                  <a:cubicBezTo>
                    <a:pt x="89773" y="80753"/>
                    <a:pt x="76633" y="90397"/>
                    <a:pt x="70238" y="103741"/>
                  </a:cubicBezTo>
                  <a:lnTo>
                    <a:pt x="70129" y="103731"/>
                  </a:lnTo>
                  <a:cubicBezTo>
                    <a:pt x="70104" y="103894"/>
                    <a:pt x="70081" y="104058"/>
                    <a:pt x="70122" y="104227"/>
                  </a:cubicBezTo>
                  <a:lnTo>
                    <a:pt x="62107" y="137764"/>
                  </a:lnTo>
                  <a:lnTo>
                    <a:pt x="69160" y="177562"/>
                  </a:lnTo>
                  <a:cubicBezTo>
                    <a:pt x="68701" y="195903"/>
                    <a:pt x="71513" y="213797"/>
                    <a:pt x="78552" y="230563"/>
                  </a:cubicBezTo>
                  <a:lnTo>
                    <a:pt x="84071" y="261706"/>
                  </a:lnTo>
                  <a:cubicBezTo>
                    <a:pt x="84514" y="264206"/>
                    <a:pt x="85144" y="266626"/>
                    <a:pt x="88376" y="268108"/>
                  </a:cubicBezTo>
                  <a:cubicBezTo>
                    <a:pt x="108900" y="327154"/>
                    <a:pt x="147315" y="379420"/>
                    <a:pt x="199727" y="418931"/>
                  </a:cubicBezTo>
                  <a:cubicBezTo>
                    <a:pt x="228553" y="440661"/>
                    <a:pt x="260406" y="457622"/>
                    <a:pt x="294717" y="467723"/>
                  </a:cubicBezTo>
                  <a:lnTo>
                    <a:pt x="294717" y="515746"/>
                  </a:lnTo>
                  <a:cubicBezTo>
                    <a:pt x="294717" y="538233"/>
                    <a:pt x="296580" y="561221"/>
                    <a:pt x="295118" y="581419"/>
                  </a:cubicBezTo>
                  <a:cubicBezTo>
                    <a:pt x="295948" y="582856"/>
                    <a:pt x="296399" y="584763"/>
                    <a:pt x="296838" y="587103"/>
                  </a:cubicBezTo>
                  <a:cubicBezTo>
                    <a:pt x="321875" y="719450"/>
                    <a:pt x="429235" y="827000"/>
                    <a:pt x="454272" y="959347"/>
                  </a:cubicBezTo>
                  <a:cubicBezTo>
                    <a:pt x="478012" y="1086435"/>
                    <a:pt x="444384" y="1255377"/>
                    <a:pt x="468124" y="1382466"/>
                  </a:cubicBezTo>
                  <a:cubicBezTo>
                    <a:pt x="471270" y="1399201"/>
                    <a:pt x="460255" y="1415317"/>
                    <a:pt x="443520" y="1418463"/>
                  </a:cubicBezTo>
                  <a:lnTo>
                    <a:pt x="322321" y="1441250"/>
                  </a:lnTo>
                  <a:cubicBezTo>
                    <a:pt x="305585" y="1444396"/>
                    <a:pt x="289469" y="1433382"/>
                    <a:pt x="286323" y="1416647"/>
                  </a:cubicBezTo>
                  <a:cubicBezTo>
                    <a:pt x="258913" y="1277821"/>
                    <a:pt x="289824" y="1118713"/>
                    <a:pt x="262415" y="979887"/>
                  </a:cubicBezTo>
                  <a:cubicBezTo>
                    <a:pt x="240597" y="864557"/>
                    <a:pt x="159451" y="770233"/>
                    <a:pt x="138216" y="713044"/>
                  </a:cubicBezTo>
                  <a:lnTo>
                    <a:pt x="137121" y="713735"/>
                  </a:lnTo>
                  <a:cubicBezTo>
                    <a:pt x="74601" y="713735"/>
                    <a:pt x="15252" y="583908"/>
                    <a:pt x="15252" y="521387"/>
                  </a:cubicBezTo>
                  <a:cubicBezTo>
                    <a:pt x="16320" y="456510"/>
                    <a:pt x="310" y="366887"/>
                    <a:pt x="1378" y="302010"/>
                  </a:cubicBezTo>
                  <a:cubicBezTo>
                    <a:pt x="310" y="232707"/>
                    <a:pt x="-7889" y="158525"/>
                    <a:pt x="32872" y="96891"/>
                  </a:cubicBezTo>
                  <a:cubicBezTo>
                    <a:pt x="58050" y="47595"/>
                    <a:pt x="80938" y="17742"/>
                    <a:pt x="117184" y="5897"/>
                  </a:cubicBezTo>
                  <a:close/>
                </a:path>
              </a:pathLst>
            </a:custGeom>
            <a:solidFill>
              <a:srgbClr val="7C252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0" name="Oval 59"/>
            <p:cNvSpPr/>
            <p:nvPr/>
          </p:nvSpPr>
          <p:spPr bwMode="gray">
            <a:xfrm>
              <a:off x="8511950" y="4529911"/>
              <a:ext cx="254104" cy="254104"/>
            </a:xfrm>
            <a:prstGeom prst="ellipse">
              <a:avLst/>
            </a:prstGeom>
            <a:solidFill>
              <a:srgbClr val="7C252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1" name="Moon 14376"/>
            <p:cNvSpPr/>
            <p:nvPr/>
          </p:nvSpPr>
          <p:spPr bwMode="gray">
            <a:xfrm rot="16200000">
              <a:off x="8366254" y="5471323"/>
              <a:ext cx="874554" cy="124731"/>
            </a:xfrm>
            <a:custGeom>
              <a:avLst/>
              <a:gdLst>
                <a:gd name="connsiteX0" fmla="*/ 1862761 w 1862761"/>
                <a:gd name="connsiteY0" fmla="*/ 257471 h 512284"/>
                <a:gd name="connsiteX1" fmla="*/ 1839901 w 1862761"/>
                <a:gd name="connsiteY1" fmla="*/ 280331 h 512284"/>
                <a:gd name="connsiteX2" fmla="*/ 1659797 w 1862761"/>
                <a:gd name="connsiteY2" fmla="*/ 280331 h 512284"/>
                <a:gd name="connsiteX3" fmla="*/ 1768199 w 1862761"/>
                <a:gd name="connsiteY3" fmla="*/ 512284 h 512284"/>
                <a:gd name="connsiteX4" fmla="*/ 1633730 w 1862761"/>
                <a:gd name="connsiteY4" fmla="*/ 280331 h 512284"/>
                <a:gd name="connsiteX5" fmla="*/ 202792 w 1862761"/>
                <a:gd name="connsiteY5" fmla="*/ 280330 h 512284"/>
                <a:gd name="connsiteX6" fmla="*/ 193927 w 1862761"/>
                <a:gd name="connsiteY6" fmla="*/ 276658 h 512284"/>
                <a:gd name="connsiteX7" fmla="*/ 135866 w 1862761"/>
                <a:gd name="connsiteY7" fmla="*/ 443931 h 512284"/>
                <a:gd name="connsiteX8" fmla="*/ 75341 w 1862761"/>
                <a:gd name="connsiteY8" fmla="*/ 465682 h 512284"/>
                <a:gd name="connsiteX9" fmla="*/ 43145 w 1862761"/>
                <a:gd name="connsiteY9" fmla="*/ 482394 h 512284"/>
                <a:gd name="connsiteX10" fmla="*/ 0 w 1862761"/>
                <a:gd name="connsiteY10" fmla="*/ 439249 h 512284"/>
                <a:gd name="connsiteX11" fmla="*/ 43145 w 1862761"/>
                <a:gd name="connsiteY11" fmla="*/ 396104 h 512284"/>
                <a:gd name="connsiteX12" fmla="*/ 83176 w 1862761"/>
                <a:gd name="connsiteY12" fmla="*/ 431732 h 512284"/>
                <a:gd name="connsiteX13" fmla="*/ 146883 w 1862761"/>
                <a:gd name="connsiteY13" fmla="*/ 275924 h 512284"/>
                <a:gd name="connsiteX14" fmla="*/ 77621 w 1862761"/>
                <a:gd name="connsiteY14" fmla="*/ 278398 h 512284"/>
                <a:gd name="connsiteX15" fmla="*/ 43145 w 1862761"/>
                <a:gd name="connsiteY15" fmla="*/ 300615 h 512284"/>
                <a:gd name="connsiteX16" fmla="*/ 0 w 1862761"/>
                <a:gd name="connsiteY16" fmla="*/ 257470 h 512284"/>
                <a:gd name="connsiteX17" fmla="*/ 43145 w 1862761"/>
                <a:gd name="connsiteY17" fmla="*/ 214325 h 512284"/>
                <a:gd name="connsiteX18" fmla="*/ 77962 w 1862761"/>
                <a:gd name="connsiteY18" fmla="*/ 237364 h 512284"/>
                <a:gd name="connsiteX19" fmla="*/ 144128 w 1862761"/>
                <a:gd name="connsiteY19" fmla="*/ 237364 h 512284"/>
                <a:gd name="connsiteX20" fmla="*/ 130357 w 1862761"/>
                <a:gd name="connsiteY20" fmla="*/ 113425 h 512284"/>
                <a:gd name="connsiteX21" fmla="*/ 78590 w 1862761"/>
                <a:gd name="connsiteY21" fmla="*/ 91626 h 512284"/>
                <a:gd name="connsiteX22" fmla="*/ 43145 w 1862761"/>
                <a:gd name="connsiteY22" fmla="*/ 116181 h 512284"/>
                <a:gd name="connsiteX23" fmla="*/ 0 w 1862761"/>
                <a:gd name="connsiteY23" fmla="*/ 73036 h 512284"/>
                <a:gd name="connsiteX24" fmla="*/ 43145 w 1862761"/>
                <a:gd name="connsiteY24" fmla="*/ 29891 h 512284"/>
                <a:gd name="connsiteX25" fmla="*/ 74790 w 1862761"/>
                <a:gd name="connsiteY25" fmla="*/ 45274 h 512284"/>
                <a:gd name="connsiteX26" fmla="*/ 149637 w 1862761"/>
                <a:gd name="connsiteY26" fmla="*/ 74866 h 512284"/>
                <a:gd name="connsiteX27" fmla="*/ 192030 w 1862761"/>
                <a:gd name="connsiteY27" fmla="*/ 239070 h 512284"/>
                <a:gd name="connsiteX28" fmla="*/ 202793 w 1862761"/>
                <a:gd name="connsiteY28" fmla="*/ 234611 h 512284"/>
                <a:gd name="connsiteX29" fmla="*/ 1633443 w 1862761"/>
                <a:gd name="connsiteY29" fmla="*/ 234611 h 512284"/>
                <a:gd name="connsiteX30" fmla="*/ 1768199 w 1862761"/>
                <a:gd name="connsiteY30" fmla="*/ 0 h 512284"/>
                <a:gd name="connsiteX31" fmla="*/ 1659550 w 1862761"/>
                <a:gd name="connsiteY31" fmla="*/ 234611 h 512284"/>
                <a:gd name="connsiteX32" fmla="*/ 1839901 w 1862761"/>
                <a:gd name="connsiteY32" fmla="*/ 234611 h 512284"/>
                <a:gd name="connsiteX33" fmla="*/ 1862761 w 1862761"/>
                <a:gd name="connsiteY33" fmla="*/ 257471 h 512284"/>
                <a:gd name="connsiteX0" fmla="*/ 1862761 w 1862761"/>
                <a:gd name="connsiteY0" fmla="*/ 257471 h 512284"/>
                <a:gd name="connsiteX1" fmla="*/ 1839901 w 1862761"/>
                <a:gd name="connsiteY1" fmla="*/ 280331 h 512284"/>
                <a:gd name="connsiteX2" fmla="*/ 1659797 w 1862761"/>
                <a:gd name="connsiteY2" fmla="*/ 280331 h 512284"/>
                <a:gd name="connsiteX3" fmla="*/ 1768199 w 1862761"/>
                <a:gd name="connsiteY3" fmla="*/ 512284 h 512284"/>
                <a:gd name="connsiteX4" fmla="*/ 1633730 w 1862761"/>
                <a:gd name="connsiteY4" fmla="*/ 280331 h 512284"/>
                <a:gd name="connsiteX5" fmla="*/ 202792 w 1862761"/>
                <a:gd name="connsiteY5" fmla="*/ 280330 h 512284"/>
                <a:gd name="connsiteX6" fmla="*/ 193927 w 1862761"/>
                <a:gd name="connsiteY6" fmla="*/ 276658 h 512284"/>
                <a:gd name="connsiteX7" fmla="*/ 135866 w 1862761"/>
                <a:gd name="connsiteY7" fmla="*/ 443931 h 512284"/>
                <a:gd name="connsiteX8" fmla="*/ 75341 w 1862761"/>
                <a:gd name="connsiteY8" fmla="*/ 465682 h 512284"/>
                <a:gd name="connsiteX9" fmla="*/ 43145 w 1862761"/>
                <a:gd name="connsiteY9" fmla="*/ 482394 h 512284"/>
                <a:gd name="connsiteX10" fmla="*/ 0 w 1862761"/>
                <a:gd name="connsiteY10" fmla="*/ 439249 h 512284"/>
                <a:gd name="connsiteX11" fmla="*/ 43145 w 1862761"/>
                <a:gd name="connsiteY11" fmla="*/ 396104 h 512284"/>
                <a:gd name="connsiteX12" fmla="*/ 146883 w 1862761"/>
                <a:gd name="connsiteY12" fmla="*/ 275924 h 512284"/>
                <a:gd name="connsiteX13" fmla="*/ 77621 w 1862761"/>
                <a:gd name="connsiteY13" fmla="*/ 278398 h 512284"/>
                <a:gd name="connsiteX14" fmla="*/ 43145 w 1862761"/>
                <a:gd name="connsiteY14" fmla="*/ 300615 h 512284"/>
                <a:gd name="connsiteX15" fmla="*/ 0 w 1862761"/>
                <a:gd name="connsiteY15" fmla="*/ 257470 h 512284"/>
                <a:gd name="connsiteX16" fmla="*/ 43145 w 1862761"/>
                <a:gd name="connsiteY16" fmla="*/ 214325 h 512284"/>
                <a:gd name="connsiteX17" fmla="*/ 77962 w 1862761"/>
                <a:gd name="connsiteY17" fmla="*/ 237364 h 512284"/>
                <a:gd name="connsiteX18" fmla="*/ 144128 w 1862761"/>
                <a:gd name="connsiteY18" fmla="*/ 237364 h 512284"/>
                <a:gd name="connsiteX19" fmla="*/ 130357 w 1862761"/>
                <a:gd name="connsiteY19" fmla="*/ 113425 h 512284"/>
                <a:gd name="connsiteX20" fmla="*/ 78590 w 1862761"/>
                <a:gd name="connsiteY20" fmla="*/ 91626 h 512284"/>
                <a:gd name="connsiteX21" fmla="*/ 43145 w 1862761"/>
                <a:gd name="connsiteY21" fmla="*/ 116181 h 512284"/>
                <a:gd name="connsiteX22" fmla="*/ 0 w 1862761"/>
                <a:gd name="connsiteY22" fmla="*/ 73036 h 512284"/>
                <a:gd name="connsiteX23" fmla="*/ 43145 w 1862761"/>
                <a:gd name="connsiteY23" fmla="*/ 29891 h 512284"/>
                <a:gd name="connsiteX24" fmla="*/ 74790 w 1862761"/>
                <a:gd name="connsiteY24" fmla="*/ 45274 h 512284"/>
                <a:gd name="connsiteX25" fmla="*/ 149637 w 1862761"/>
                <a:gd name="connsiteY25" fmla="*/ 74866 h 512284"/>
                <a:gd name="connsiteX26" fmla="*/ 192030 w 1862761"/>
                <a:gd name="connsiteY26" fmla="*/ 239070 h 512284"/>
                <a:gd name="connsiteX27" fmla="*/ 202793 w 1862761"/>
                <a:gd name="connsiteY27" fmla="*/ 234611 h 512284"/>
                <a:gd name="connsiteX28" fmla="*/ 1633443 w 1862761"/>
                <a:gd name="connsiteY28" fmla="*/ 234611 h 512284"/>
                <a:gd name="connsiteX29" fmla="*/ 1768199 w 1862761"/>
                <a:gd name="connsiteY29" fmla="*/ 0 h 512284"/>
                <a:gd name="connsiteX30" fmla="*/ 1659550 w 1862761"/>
                <a:gd name="connsiteY30" fmla="*/ 234611 h 512284"/>
                <a:gd name="connsiteX31" fmla="*/ 1839901 w 1862761"/>
                <a:gd name="connsiteY31" fmla="*/ 234611 h 512284"/>
                <a:gd name="connsiteX32" fmla="*/ 1862761 w 1862761"/>
                <a:gd name="connsiteY32" fmla="*/ 257471 h 512284"/>
                <a:gd name="connsiteX0" fmla="*/ 1862761 w 1862761"/>
                <a:gd name="connsiteY0" fmla="*/ 257471 h 512284"/>
                <a:gd name="connsiteX1" fmla="*/ 1839901 w 1862761"/>
                <a:gd name="connsiteY1" fmla="*/ 280331 h 512284"/>
                <a:gd name="connsiteX2" fmla="*/ 1659797 w 1862761"/>
                <a:gd name="connsiteY2" fmla="*/ 280331 h 512284"/>
                <a:gd name="connsiteX3" fmla="*/ 1768199 w 1862761"/>
                <a:gd name="connsiteY3" fmla="*/ 512284 h 512284"/>
                <a:gd name="connsiteX4" fmla="*/ 1633730 w 1862761"/>
                <a:gd name="connsiteY4" fmla="*/ 280331 h 512284"/>
                <a:gd name="connsiteX5" fmla="*/ 202792 w 1862761"/>
                <a:gd name="connsiteY5" fmla="*/ 280330 h 512284"/>
                <a:gd name="connsiteX6" fmla="*/ 193927 w 1862761"/>
                <a:gd name="connsiteY6" fmla="*/ 276658 h 512284"/>
                <a:gd name="connsiteX7" fmla="*/ 75341 w 1862761"/>
                <a:gd name="connsiteY7" fmla="*/ 465682 h 512284"/>
                <a:gd name="connsiteX8" fmla="*/ 43145 w 1862761"/>
                <a:gd name="connsiteY8" fmla="*/ 482394 h 512284"/>
                <a:gd name="connsiteX9" fmla="*/ 0 w 1862761"/>
                <a:gd name="connsiteY9" fmla="*/ 439249 h 512284"/>
                <a:gd name="connsiteX10" fmla="*/ 43145 w 1862761"/>
                <a:gd name="connsiteY10" fmla="*/ 396104 h 512284"/>
                <a:gd name="connsiteX11" fmla="*/ 146883 w 1862761"/>
                <a:gd name="connsiteY11" fmla="*/ 275924 h 512284"/>
                <a:gd name="connsiteX12" fmla="*/ 77621 w 1862761"/>
                <a:gd name="connsiteY12" fmla="*/ 278398 h 512284"/>
                <a:gd name="connsiteX13" fmla="*/ 43145 w 1862761"/>
                <a:gd name="connsiteY13" fmla="*/ 300615 h 512284"/>
                <a:gd name="connsiteX14" fmla="*/ 0 w 1862761"/>
                <a:gd name="connsiteY14" fmla="*/ 257470 h 512284"/>
                <a:gd name="connsiteX15" fmla="*/ 43145 w 1862761"/>
                <a:gd name="connsiteY15" fmla="*/ 214325 h 512284"/>
                <a:gd name="connsiteX16" fmla="*/ 77962 w 1862761"/>
                <a:gd name="connsiteY16" fmla="*/ 237364 h 512284"/>
                <a:gd name="connsiteX17" fmla="*/ 144128 w 1862761"/>
                <a:gd name="connsiteY17" fmla="*/ 237364 h 512284"/>
                <a:gd name="connsiteX18" fmla="*/ 130357 w 1862761"/>
                <a:gd name="connsiteY18" fmla="*/ 113425 h 512284"/>
                <a:gd name="connsiteX19" fmla="*/ 78590 w 1862761"/>
                <a:gd name="connsiteY19" fmla="*/ 91626 h 512284"/>
                <a:gd name="connsiteX20" fmla="*/ 43145 w 1862761"/>
                <a:gd name="connsiteY20" fmla="*/ 116181 h 512284"/>
                <a:gd name="connsiteX21" fmla="*/ 0 w 1862761"/>
                <a:gd name="connsiteY21" fmla="*/ 73036 h 512284"/>
                <a:gd name="connsiteX22" fmla="*/ 43145 w 1862761"/>
                <a:gd name="connsiteY22" fmla="*/ 29891 h 512284"/>
                <a:gd name="connsiteX23" fmla="*/ 74790 w 1862761"/>
                <a:gd name="connsiteY23" fmla="*/ 45274 h 512284"/>
                <a:gd name="connsiteX24" fmla="*/ 149637 w 1862761"/>
                <a:gd name="connsiteY24" fmla="*/ 74866 h 512284"/>
                <a:gd name="connsiteX25" fmla="*/ 192030 w 1862761"/>
                <a:gd name="connsiteY25" fmla="*/ 239070 h 512284"/>
                <a:gd name="connsiteX26" fmla="*/ 202793 w 1862761"/>
                <a:gd name="connsiteY26" fmla="*/ 234611 h 512284"/>
                <a:gd name="connsiteX27" fmla="*/ 1633443 w 1862761"/>
                <a:gd name="connsiteY27" fmla="*/ 234611 h 512284"/>
                <a:gd name="connsiteX28" fmla="*/ 1768199 w 1862761"/>
                <a:gd name="connsiteY28" fmla="*/ 0 h 512284"/>
                <a:gd name="connsiteX29" fmla="*/ 1659550 w 1862761"/>
                <a:gd name="connsiteY29" fmla="*/ 234611 h 512284"/>
                <a:gd name="connsiteX30" fmla="*/ 1839901 w 1862761"/>
                <a:gd name="connsiteY30" fmla="*/ 234611 h 512284"/>
                <a:gd name="connsiteX31" fmla="*/ 1862761 w 1862761"/>
                <a:gd name="connsiteY31" fmla="*/ 257471 h 512284"/>
                <a:gd name="connsiteX0" fmla="*/ 1862761 w 1862761"/>
                <a:gd name="connsiteY0" fmla="*/ 257471 h 512284"/>
                <a:gd name="connsiteX1" fmla="*/ 1839901 w 1862761"/>
                <a:gd name="connsiteY1" fmla="*/ 280331 h 512284"/>
                <a:gd name="connsiteX2" fmla="*/ 1659797 w 1862761"/>
                <a:gd name="connsiteY2" fmla="*/ 280331 h 512284"/>
                <a:gd name="connsiteX3" fmla="*/ 1768199 w 1862761"/>
                <a:gd name="connsiteY3" fmla="*/ 512284 h 512284"/>
                <a:gd name="connsiteX4" fmla="*/ 1633730 w 1862761"/>
                <a:gd name="connsiteY4" fmla="*/ 280331 h 512284"/>
                <a:gd name="connsiteX5" fmla="*/ 202792 w 1862761"/>
                <a:gd name="connsiteY5" fmla="*/ 280330 h 512284"/>
                <a:gd name="connsiteX6" fmla="*/ 193927 w 1862761"/>
                <a:gd name="connsiteY6" fmla="*/ 276658 h 512284"/>
                <a:gd name="connsiteX7" fmla="*/ 75341 w 1862761"/>
                <a:gd name="connsiteY7" fmla="*/ 465682 h 512284"/>
                <a:gd name="connsiteX8" fmla="*/ 70413 w 1862761"/>
                <a:gd name="connsiteY8" fmla="*/ 468049 h 512284"/>
                <a:gd name="connsiteX9" fmla="*/ 43145 w 1862761"/>
                <a:gd name="connsiteY9" fmla="*/ 482394 h 512284"/>
                <a:gd name="connsiteX10" fmla="*/ 0 w 1862761"/>
                <a:gd name="connsiteY10" fmla="*/ 439249 h 512284"/>
                <a:gd name="connsiteX11" fmla="*/ 43145 w 1862761"/>
                <a:gd name="connsiteY11" fmla="*/ 396104 h 512284"/>
                <a:gd name="connsiteX12" fmla="*/ 146883 w 1862761"/>
                <a:gd name="connsiteY12" fmla="*/ 275924 h 512284"/>
                <a:gd name="connsiteX13" fmla="*/ 77621 w 1862761"/>
                <a:gd name="connsiteY13" fmla="*/ 278398 h 512284"/>
                <a:gd name="connsiteX14" fmla="*/ 43145 w 1862761"/>
                <a:gd name="connsiteY14" fmla="*/ 300615 h 512284"/>
                <a:gd name="connsiteX15" fmla="*/ 0 w 1862761"/>
                <a:gd name="connsiteY15" fmla="*/ 257470 h 512284"/>
                <a:gd name="connsiteX16" fmla="*/ 43145 w 1862761"/>
                <a:gd name="connsiteY16" fmla="*/ 214325 h 512284"/>
                <a:gd name="connsiteX17" fmla="*/ 77962 w 1862761"/>
                <a:gd name="connsiteY17" fmla="*/ 237364 h 512284"/>
                <a:gd name="connsiteX18" fmla="*/ 144128 w 1862761"/>
                <a:gd name="connsiteY18" fmla="*/ 237364 h 512284"/>
                <a:gd name="connsiteX19" fmla="*/ 130357 w 1862761"/>
                <a:gd name="connsiteY19" fmla="*/ 113425 h 512284"/>
                <a:gd name="connsiteX20" fmla="*/ 78590 w 1862761"/>
                <a:gd name="connsiteY20" fmla="*/ 91626 h 512284"/>
                <a:gd name="connsiteX21" fmla="*/ 43145 w 1862761"/>
                <a:gd name="connsiteY21" fmla="*/ 116181 h 512284"/>
                <a:gd name="connsiteX22" fmla="*/ 0 w 1862761"/>
                <a:gd name="connsiteY22" fmla="*/ 73036 h 512284"/>
                <a:gd name="connsiteX23" fmla="*/ 43145 w 1862761"/>
                <a:gd name="connsiteY23" fmla="*/ 29891 h 512284"/>
                <a:gd name="connsiteX24" fmla="*/ 74790 w 1862761"/>
                <a:gd name="connsiteY24" fmla="*/ 45274 h 512284"/>
                <a:gd name="connsiteX25" fmla="*/ 149637 w 1862761"/>
                <a:gd name="connsiteY25" fmla="*/ 74866 h 512284"/>
                <a:gd name="connsiteX26" fmla="*/ 192030 w 1862761"/>
                <a:gd name="connsiteY26" fmla="*/ 239070 h 512284"/>
                <a:gd name="connsiteX27" fmla="*/ 202793 w 1862761"/>
                <a:gd name="connsiteY27" fmla="*/ 234611 h 512284"/>
                <a:gd name="connsiteX28" fmla="*/ 1633443 w 1862761"/>
                <a:gd name="connsiteY28" fmla="*/ 234611 h 512284"/>
                <a:gd name="connsiteX29" fmla="*/ 1768199 w 1862761"/>
                <a:gd name="connsiteY29" fmla="*/ 0 h 512284"/>
                <a:gd name="connsiteX30" fmla="*/ 1659550 w 1862761"/>
                <a:gd name="connsiteY30" fmla="*/ 234611 h 512284"/>
                <a:gd name="connsiteX31" fmla="*/ 1839901 w 1862761"/>
                <a:gd name="connsiteY31" fmla="*/ 234611 h 512284"/>
                <a:gd name="connsiteX32" fmla="*/ 1862761 w 1862761"/>
                <a:gd name="connsiteY32" fmla="*/ 257471 h 512284"/>
                <a:gd name="connsiteX0" fmla="*/ 1862761 w 1862761"/>
                <a:gd name="connsiteY0" fmla="*/ 257471 h 512284"/>
                <a:gd name="connsiteX1" fmla="*/ 1839901 w 1862761"/>
                <a:gd name="connsiteY1" fmla="*/ 280331 h 512284"/>
                <a:gd name="connsiteX2" fmla="*/ 1659797 w 1862761"/>
                <a:gd name="connsiteY2" fmla="*/ 280331 h 512284"/>
                <a:gd name="connsiteX3" fmla="*/ 1768199 w 1862761"/>
                <a:gd name="connsiteY3" fmla="*/ 512284 h 512284"/>
                <a:gd name="connsiteX4" fmla="*/ 1633730 w 1862761"/>
                <a:gd name="connsiteY4" fmla="*/ 280331 h 512284"/>
                <a:gd name="connsiteX5" fmla="*/ 202792 w 1862761"/>
                <a:gd name="connsiteY5" fmla="*/ 280330 h 512284"/>
                <a:gd name="connsiteX6" fmla="*/ 193927 w 1862761"/>
                <a:gd name="connsiteY6" fmla="*/ 276658 h 512284"/>
                <a:gd name="connsiteX7" fmla="*/ 75341 w 1862761"/>
                <a:gd name="connsiteY7" fmla="*/ 465682 h 512284"/>
                <a:gd name="connsiteX8" fmla="*/ 43145 w 1862761"/>
                <a:gd name="connsiteY8" fmla="*/ 482394 h 512284"/>
                <a:gd name="connsiteX9" fmla="*/ 0 w 1862761"/>
                <a:gd name="connsiteY9" fmla="*/ 439249 h 512284"/>
                <a:gd name="connsiteX10" fmla="*/ 43145 w 1862761"/>
                <a:gd name="connsiteY10" fmla="*/ 396104 h 512284"/>
                <a:gd name="connsiteX11" fmla="*/ 146883 w 1862761"/>
                <a:gd name="connsiteY11" fmla="*/ 275924 h 512284"/>
                <a:gd name="connsiteX12" fmla="*/ 77621 w 1862761"/>
                <a:gd name="connsiteY12" fmla="*/ 278398 h 512284"/>
                <a:gd name="connsiteX13" fmla="*/ 43145 w 1862761"/>
                <a:gd name="connsiteY13" fmla="*/ 300615 h 512284"/>
                <a:gd name="connsiteX14" fmla="*/ 0 w 1862761"/>
                <a:gd name="connsiteY14" fmla="*/ 257470 h 512284"/>
                <a:gd name="connsiteX15" fmla="*/ 43145 w 1862761"/>
                <a:gd name="connsiteY15" fmla="*/ 214325 h 512284"/>
                <a:gd name="connsiteX16" fmla="*/ 77962 w 1862761"/>
                <a:gd name="connsiteY16" fmla="*/ 237364 h 512284"/>
                <a:gd name="connsiteX17" fmla="*/ 144128 w 1862761"/>
                <a:gd name="connsiteY17" fmla="*/ 237364 h 512284"/>
                <a:gd name="connsiteX18" fmla="*/ 130357 w 1862761"/>
                <a:gd name="connsiteY18" fmla="*/ 113425 h 512284"/>
                <a:gd name="connsiteX19" fmla="*/ 78590 w 1862761"/>
                <a:gd name="connsiteY19" fmla="*/ 91626 h 512284"/>
                <a:gd name="connsiteX20" fmla="*/ 43145 w 1862761"/>
                <a:gd name="connsiteY20" fmla="*/ 116181 h 512284"/>
                <a:gd name="connsiteX21" fmla="*/ 0 w 1862761"/>
                <a:gd name="connsiteY21" fmla="*/ 73036 h 512284"/>
                <a:gd name="connsiteX22" fmla="*/ 43145 w 1862761"/>
                <a:gd name="connsiteY22" fmla="*/ 29891 h 512284"/>
                <a:gd name="connsiteX23" fmla="*/ 74790 w 1862761"/>
                <a:gd name="connsiteY23" fmla="*/ 45274 h 512284"/>
                <a:gd name="connsiteX24" fmla="*/ 149637 w 1862761"/>
                <a:gd name="connsiteY24" fmla="*/ 74866 h 512284"/>
                <a:gd name="connsiteX25" fmla="*/ 192030 w 1862761"/>
                <a:gd name="connsiteY25" fmla="*/ 239070 h 512284"/>
                <a:gd name="connsiteX26" fmla="*/ 202793 w 1862761"/>
                <a:gd name="connsiteY26" fmla="*/ 234611 h 512284"/>
                <a:gd name="connsiteX27" fmla="*/ 1633443 w 1862761"/>
                <a:gd name="connsiteY27" fmla="*/ 234611 h 512284"/>
                <a:gd name="connsiteX28" fmla="*/ 1768199 w 1862761"/>
                <a:gd name="connsiteY28" fmla="*/ 0 h 512284"/>
                <a:gd name="connsiteX29" fmla="*/ 1659550 w 1862761"/>
                <a:gd name="connsiteY29" fmla="*/ 234611 h 512284"/>
                <a:gd name="connsiteX30" fmla="*/ 1839901 w 1862761"/>
                <a:gd name="connsiteY30" fmla="*/ 234611 h 512284"/>
                <a:gd name="connsiteX31" fmla="*/ 1862761 w 1862761"/>
                <a:gd name="connsiteY31" fmla="*/ 257471 h 512284"/>
                <a:gd name="connsiteX0" fmla="*/ 1862761 w 1862761"/>
                <a:gd name="connsiteY0" fmla="*/ 257471 h 512284"/>
                <a:gd name="connsiteX1" fmla="*/ 1839901 w 1862761"/>
                <a:gd name="connsiteY1" fmla="*/ 280331 h 512284"/>
                <a:gd name="connsiteX2" fmla="*/ 1659797 w 1862761"/>
                <a:gd name="connsiteY2" fmla="*/ 280331 h 512284"/>
                <a:gd name="connsiteX3" fmla="*/ 1768199 w 1862761"/>
                <a:gd name="connsiteY3" fmla="*/ 512284 h 512284"/>
                <a:gd name="connsiteX4" fmla="*/ 1633730 w 1862761"/>
                <a:gd name="connsiteY4" fmla="*/ 280331 h 512284"/>
                <a:gd name="connsiteX5" fmla="*/ 202792 w 1862761"/>
                <a:gd name="connsiteY5" fmla="*/ 280330 h 512284"/>
                <a:gd name="connsiteX6" fmla="*/ 193927 w 1862761"/>
                <a:gd name="connsiteY6" fmla="*/ 276658 h 512284"/>
                <a:gd name="connsiteX7" fmla="*/ 43145 w 1862761"/>
                <a:gd name="connsiteY7" fmla="*/ 482394 h 512284"/>
                <a:gd name="connsiteX8" fmla="*/ 0 w 1862761"/>
                <a:gd name="connsiteY8" fmla="*/ 439249 h 512284"/>
                <a:gd name="connsiteX9" fmla="*/ 43145 w 1862761"/>
                <a:gd name="connsiteY9" fmla="*/ 396104 h 512284"/>
                <a:gd name="connsiteX10" fmla="*/ 146883 w 1862761"/>
                <a:gd name="connsiteY10" fmla="*/ 275924 h 512284"/>
                <a:gd name="connsiteX11" fmla="*/ 77621 w 1862761"/>
                <a:gd name="connsiteY11" fmla="*/ 278398 h 512284"/>
                <a:gd name="connsiteX12" fmla="*/ 43145 w 1862761"/>
                <a:gd name="connsiteY12" fmla="*/ 300615 h 512284"/>
                <a:gd name="connsiteX13" fmla="*/ 0 w 1862761"/>
                <a:gd name="connsiteY13" fmla="*/ 257470 h 512284"/>
                <a:gd name="connsiteX14" fmla="*/ 43145 w 1862761"/>
                <a:gd name="connsiteY14" fmla="*/ 214325 h 512284"/>
                <a:gd name="connsiteX15" fmla="*/ 77962 w 1862761"/>
                <a:gd name="connsiteY15" fmla="*/ 237364 h 512284"/>
                <a:gd name="connsiteX16" fmla="*/ 144128 w 1862761"/>
                <a:gd name="connsiteY16" fmla="*/ 237364 h 512284"/>
                <a:gd name="connsiteX17" fmla="*/ 130357 w 1862761"/>
                <a:gd name="connsiteY17" fmla="*/ 113425 h 512284"/>
                <a:gd name="connsiteX18" fmla="*/ 78590 w 1862761"/>
                <a:gd name="connsiteY18" fmla="*/ 91626 h 512284"/>
                <a:gd name="connsiteX19" fmla="*/ 43145 w 1862761"/>
                <a:gd name="connsiteY19" fmla="*/ 116181 h 512284"/>
                <a:gd name="connsiteX20" fmla="*/ 0 w 1862761"/>
                <a:gd name="connsiteY20" fmla="*/ 73036 h 512284"/>
                <a:gd name="connsiteX21" fmla="*/ 43145 w 1862761"/>
                <a:gd name="connsiteY21" fmla="*/ 29891 h 512284"/>
                <a:gd name="connsiteX22" fmla="*/ 74790 w 1862761"/>
                <a:gd name="connsiteY22" fmla="*/ 45274 h 512284"/>
                <a:gd name="connsiteX23" fmla="*/ 149637 w 1862761"/>
                <a:gd name="connsiteY23" fmla="*/ 74866 h 512284"/>
                <a:gd name="connsiteX24" fmla="*/ 192030 w 1862761"/>
                <a:gd name="connsiteY24" fmla="*/ 239070 h 512284"/>
                <a:gd name="connsiteX25" fmla="*/ 202793 w 1862761"/>
                <a:gd name="connsiteY25" fmla="*/ 234611 h 512284"/>
                <a:gd name="connsiteX26" fmla="*/ 1633443 w 1862761"/>
                <a:gd name="connsiteY26" fmla="*/ 234611 h 512284"/>
                <a:gd name="connsiteX27" fmla="*/ 1768199 w 1862761"/>
                <a:gd name="connsiteY27" fmla="*/ 0 h 512284"/>
                <a:gd name="connsiteX28" fmla="*/ 1659550 w 1862761"/>
                <a:gd name="connsiteY28" fmla="*/ 234611 h 512284"/>
                <a:gd name="connsiteX29" fmla="*/ 1839901 w 1862761"/>
                <a:gd name="connsiteY29" fmla="*/ 234611 h 512284"/>
                <a:gd name="connsiteX30" fmla="*/ 1862761 w 1862761"/>
                <a:gd name="connsiteY30" fmla="*/ 257471 h 512284"/>
                <a:gd name="connsiteX0" fmla="*/ 1870291 w 1870291"/>
                <a:gd name="connsiteY0" fmla="*/ 257471 h 512284"/>
                <a:gd name="connsiteX1" fmla="*/ 1847431 w 1870291"/>
                <a:gd name="connsiteY1" fmla="*/ 280331 h 512284"/>
                <a:gd name="connsiteX2" fmla="*/ 1667327 w 1870291"/>
                <a:gd name="connsiteY2" fmla="*/ 280331 h 512284"/>
                <a:gd name="connsiteX3" fmla="*/ 1775729 w 1870291"/>
                <a:gd name="connsiteY3" fmla="*/ 512284 h 512284"/>
                <a:gd name="connsiteX4" fmla="*/ 1641260 w 1870291"/>
                <a:gd name="connsiteY4" fmla="*/ 280331 h 512284"/>
                <a:gd name="connsiteX5" fmla="*/ 210322 w 1870291"/>
                <a:gd name="connsiteY5" fmla="*/ 280330 h 512284"/>
                <a:gd name="connsiteX6" fmla="*/ 201457 w 1870291"/>
                <a:gd name="connsiteY6" fmla="*/ 276658 h 512284"/>
                <a:gd name="connsiteX7" fmla="*/ 7530 w 1870291"/>
                <a:gd name="connsiteY7" fmla="*/ 439249 h 512284"/>
                <a:gd name="connsiteX8" fmla="*/ 50675 w 1870291"/>
                <a:gd name="connsiteY8" fmla="*/ 396104 h 512284"/>
                <a:gd name="connsiteX9" fmla="*/ 154413 w 1870291"/>
                <a:gd name="connsiteY9" fmla="*/ 275924 h 512284"/>
                <a:gd name="connsiteX10" fmla="*/ 85151 w 1870291"/>
                <a:gd name="connsiteY10" fmla="*/ 278398 h 512284"/>
                <a:gd name="connsiteX11" fmla="*/ 50675 w 1870291"/>
                <a:gd name="connsiteY11" fmla="*/ 300615 h 512284"/>
                <a:gd name="connsiteX12" fmla="*/ 7530 w 1870291"/>
                <a:gd name="connsiteY12" fmla="*/ 257470 h 512284"/>
                <a:gd name="connsiteX13" fmla="*/ 50675 w 1870291"/>
                <a:gd name="connsiteY13" fmla="*/ 214325 h 512284"/>
                <a:gd name="connsiteX14" fmla="*/ 85492 w 1870291"/>
                <a:gd name="connsiteY14" fmla="*/ 237364 h 512284"/>
                <a:gd name="connsiteX15" fmla="*/ 151658 w 1870291"/>
                <a:gd name="connsiteY15" fmla="*/ 237364 h 512284"/>
                <a:gd name="connsiteX16" fmla="*/ 137887 w 1870291"/>
                <a:gd name="connsiteY16" fmla="*/ 113425 h 512284"/>
                <a:gd name="connsiteX17" fmla="*/ 86120 w 1870291"/>
                <a:gd name="connsiteY17" fmla="*/ 91626 h 512284"/>
                <a:gd name="connsiteX18" fmla="*/ 50675 w 1870291"/>
                <a:gd name="connsiteY18" fmla="*/ 116181 h 512284"/>
                <a:gd name="connsiteX19" fmla="*/ 7530 w 1870291"/>
                <a:gd name="connsiteY19" fmla="*/ 73036 h 512284"/>
                <a:gd name="connsiteX20" fmla="*/ 50675 w 1870291"/>
                <a:gd name="connsiteY20" fmla="*/ 29891 h 512284"/>
                <a:gd name="connsiteX21" fmla="*/ 82320 w 1870291"/>
                <a:gd name="connsiteY21" fmla="*/ 45274 h 512284"/>
                <a:gd name="connsiteX22" fmla="*/ 157167 w 1870291"/>
                <a:gd name="connsiteY22" fmla="*/ 74866 h 512284"/>
                <a:gd name="connsiteX23" fmla="*/ 199560 w 1870291"/>
                <a:gd name="connsiteY23" fmla="*/ 239070 h 512284"/>
                <a:gd name="connsiteX24" fmla="*/ 210323 w 1870291"/>
                <a:gd name="connsiteY24" fmla="*/ 234611 h 512284"/>
                <a:gd name="connsiteX25" fmla="*/ 1640973 w 1870291"/>
                <a:gd name="connsiteY25" fmla="*/ 234611 h 512284"/>
                <a:gd name="connsiteX26" fmla="*/ 1775729 w 1870291"/>
                <a:gd name="connsiteY26" fmla="*/ 0 h 512284"/>
                <a:gd name="connsiteX27" fmla="*/ 1667080 w 1870291"/>
                <a:gd name="connsiteY27" fmla="*/ 234611 h 512284"/>
                <a:gd name="connsiteX28" fmla="*/ 1847431 w 1870291"/>
                <a:gd name="connsiteY28" fmla="*/ 234611 h 512284"/>
                <a:gd name="connsiteX29" fmla="*/ 1870291 w 1870291"/>
                <a:gd name="connsiteY29" fmla="*/ 257471 h 512284"/>
                <a:gd name="connsiteX0" fmla="*/ 1862761 w 1862761"/>
                <a:gd name="connsiteY0" fmla="*/ 257471 h 512284"/>
                <a:gd name="connsiteX1" fmla="*/ 1839901 w 1862761"/>
                <a:gd name="connsiteY1" fmla="*/ 280331 h 512284"/>
                <a:gd name="connsiteX2" fmla="*/ 1659797 w 1862761"/>
                <a:gd name="connsiteY2" fmla="*/ 280331 h 512284"/>
                <a:gd name="connsiteX3" fmla="*/ 1768199 w 1862761"/>
                <a:gd name="connsiteY3" fmla="*/ 512284 h 512284"/>
                <a:gd name="connsiteX4" fmla="*/ 1633730 w 1862761"/>
                <a:gd name="connsiteY4" fmla="*/ 280331 h 512284"/>
                <a:gd name="connsiteX5" fmla="*/ 202792 w 1862761"/>
                <a:gd name="connsiteY5" fmla="*/ 280330 h 512284"/>
                <a:gd name="connsiteX6" fmla="*/ 193927 w 1862761"/>
                <a:gd name="connsiteY6" fmla="*/ 276658 h 512284"/>
                <a:gd name="connsiteX7" fmla="*/ 43145 w 1862761"/>
                <a:gd name="connsiteY7" fmla="*/ 396104 h 512284"/>
                <a:gd name="connsiteX8" fmla="*/ 146883 w 1862761"/>
                <a:gd name="connsiteY8" fmla="*/ 275924 h 512284"/>
                <a:gd name="connsiteX9" fmla="*/ 77621 w 1862761"/>
                <a:gd name="connsiteY9" fmla="*/ 278398 h 512284"/>
                <a:gd name="connsiteX10" fmla="*/ 43145 w 1862761"/>
                <a:gd name="connsiteY10" fmla="*/ 300615 h 512284"/>
                <a:gd name="connsiteX11" fmla="*/ 0 w 1862761"/>
                <a:gd name="connsiteY11" fmla="*/ 257470 h 512284"/>
                <a:gd name="connsiteX12" fmla="*/ 43145 w 1862761"/>
                <a:gd name="connsiteY12" fmla="*/ 214325 h 512284"/>
                <a:gd name="connsiteX13" fmla="*/ 77962 w 1862761"/>
                <a:gd name="connsiteY13" fmla="*/ 237364 h 512284"/>
                <a:gd name="connsiteX14" fmla="*/ 144128 w 1862761"/>
                <a:gd name="connsiteY14" fmla="*/ 237364 h 512284"/>
                <a:gd name="connsiteX15" fmla="*/ 130357 w 1862761"/>
                <a:gd name="connsiteY15" fmla="*/ 113425 h 512284"/>
                <a:gd name="connsiteX16" fmla="*/ 78590 w 1862761"/>
                <a:gd name="connsiteY16" fmla="*/ 91626 h 512284"/>
                <a:gd name="connsiteX17" fmla="*/ 43145 w 1862761"/>
                <a:gd name="connsiteY17" fmla="*/ 116181 h 512284"/>
                <a:gd name="connsiteX18" fmla="*/ 0 w 1862761"/>
                <a:gd name="connsiteY18" fmla="*/ 73036 h 512284"/>
                <a:gd name="connsiteX19" fmla="*/ 43145 w 1862761"/>
                <a:gd name="connsiteY19" fmla="*/ 29891 h 512284"/>
                <a:gd name="connsiteX20" fmla="*/ 74790 w 1862761"/>
                <a:gd name="connsiteY20" fmla="*/ 45274 h 512284"/>
                <a:gd name="connsiteX21" fmla="*/ 149637 w 1862761"/>
                <a:gd name="connsiteY21" fmla="*/ 74866 h 512284"/>
                <a:gd name="connsiteX22" fmla="*/ 192030 w 1862761"/>
                <a:gd name="connsiteY22" fmla="*/ 239070 h 512284"/>
                <a:gd name="connsiteX23" fmla="*/ 202793 w 1862761"/>
                <a:gd name="connsiteY23" fmla="*/ 234611 h 512284"/>
                <a:gd name="connsiteX24" fmla="*/ 1633443 w 1862761"/>
                <a:gd name="connsiteY24" fmla="*/ 234611 h 512284"/>
                <a:gd name="connsiteX25" fmla="*/ 1768199 w 1862761"/>
                <a:gd name="connsiteY25" fmla="*/ 0 h 512284"/>
                <a:gd name="connsiteX26" fmla="*/ 1659550 w 1862761"/>
                <a:gd name="connsiteY26" fmla="*/ 234611 h 512284"/>
                <a:gd name="connsiteX27" fmla="*/ 1839901 w 1862761"/>
                <a:gd name="connsiteY27" fmla="*/ 234611 h 512284"/>
                <a:gd name="connsiteX28" fmla="*/ 1862761 w 1862761"/>
                <a:gd name="connsiteY28" fmla="*/ 257471 h 512284"/>
                <a:gd name="connsiteX0" fmla="*/ 1862761 w 1862761"/>
                <a:gd name="connsiteY0" fmla="*/ 257471 h 512284"/>
                <a:gd name="connsiteX1" fmla="*/ 1839901 w 1862761"/>
                <a:gd name="connsiteY1" fmla="*/ 280331 h 512284"/>
                <a:gd name="connsiteX2" fmla="*/ 1659797 w 1862761"/>
                <a:gd name="connsiteY2" fmla="*/ 280331 h 512284"/>
                <a:gd name="connsiteX3" fmla="*/ 1768199 w 1862761"/>
                <a:gd name="connsiteY3" fmla="*/ 512284 h 512284"/>
                <a:gd name="connsiteX4" fmla="*/ 1633730 w 1862761"/>
                <a:gd name="connsiteY4" fmla="*/ 280331 h 512284"/>
                <a:gd name="connsiteX5" fmla="*/ 202792 w 1862761"/>
                <a:gd name="connsiteY5" fmla="*/ 280330 h 512284"/>
                <a:gd name="connsiteX6" fmla="*/ 193927 w 1862761"/>
                <a:gd name="connsiteY6" fmla="*/ 276658 h 512284"/>
                <a:gd name="connsiteX7" fmla="*/ 146883 w 1862761"/>
                <a:gd name="connsiteY7" fmla="*/ 275924 h 512284"/>
                <a:gd name="connsiteX8" fmla="*/ 77621 w 1862761"/>
                <a:gd name="connsiteY8" fmla="*/ 278398 h 512284"/>
                <a:gd name="connsiteX9" fmla="*/ 43145 w 1862761"/>
                <a:gd name="connsiteY9" fmla="*/ 300615 h 512284"/>
                <a:gd name="connsiteX10" fmla="*/ 0 w 1862761"/>
                <a:gd name="connsiteY10" fmla="*/ 257470 h 512284"/>
                <a:gd name="connsiteX11" fmla="*/ 43145 w 1862761"/>
                <a:gd name="connsiteY11" fmla="*/ 214325 h 512284"/>
                <a:gd name="connsiteX12" fmla="*/ 77962 w 1862761"/>
                <a:gd name="connsiteY12" fmla="*/ 237364 h 512284"/>
                <a:gd name="connsiteX13" fmla="*/ 144128 w 1862761"/>
                <a:gd name="connsiteY13" fmla="*/ 237364 h 512284"/>
                <a:gd name="connsiteX14" fmla="*/ 130357 w 1862761"/>
                <a:gd name="connsiteY14" fmla="*/ 113425 h 512284"/>
                <a:gd name="connsiteX15" fmla="*/ 78590 w 1862761"/>
                <a:gd name="connsiteY15" fmla="*/ 91626 h 512284"/>
                <a:gd name="connsiteX16" fmla="*/ 43145 w 1862761"/>
                <a:gd name="connsiteY16" fmla="*/ 116181 h 512284"/>
                <a:gd name="connsiteX17" fmla="*/ 0 w 1862761"/>
                <a:gd name="connsiteY17" fmla="*/ 73036 h 512284"/>
                <a:gd name="connsiteX18" fmla="*/ 43145 w 1862761"/>
                <a:gd name="connsiteY18" fmla="*/ 29891 h 512284"/>
                <a:gd name="connsiteX19" fmla="*/ 74790 w 1862761"/>
                <a:gd name="connsiteY19" fmla="*/ 45274 h 512284"/>
                <a:gd name="connsiteX20" fmla="*/ 149637 w 1862761"/>
                <a:gd name="connsiteY20" fmla="*/ 74866 h 512284"/>
                <a:gd name="connsiteX21" fmla="*/ 192030 w 1862761"/>
                <a:gd name="connsiteY21" fmla="*/ 239070 h 512284"/>
                <a:gd name="connsiteX22" fmla="*/ 202793 w 1862761"/>
                <a:gd name="connsiteY22" fmla="*/ 234611 h 512284"/>
                <a:gd name="connsiteX23" fmla="*/ 1633443 w 1862761"/>
                <a:gd name="connsiteY23" fmla="*/ 234611 h 512284"/>
                <a:gd name="connsiteX24" fmla="*/ 1768199 w 1862761"/>
                <a:gd name="connsiteY24" fmla="*/ 0 h 512284"/>
                <a:gd name="connsiteX25" fmla="*/ 1659550 w 1862761"/>
                <a:gd name="connsiteY25" fmla="*/ 234611 h 512284"/>
                <a:gd name="connsiteX26" fmla="*/ 1839901 w 1862761"/>
                <a:gd name="connsiteY26" fmla="*/ 234611 h 512284"/>
                <a:gd name="connsiteX27" fmla="*/ 1862761 w 1862761"/>
                <a:gd name="connsiteY27" fmla="*/ 257471 h 512284"/>
                <a:gd name="connsiteX0" fmla="*/ 1862761 w 1862761"/>
                <a:gd name="connsiteY0" fmla="*/ 257471 h 512284"/>
                <a:gd name="connsiteX1" fmla="*/ 1839901 w 1862761"/>
                <a:gd name="connsiteY1" fmla="*/ 280331 h 512284"/>
                <a:gd name="connsiteX2" fmla="*/ 1659797 w 1862761"/>
                <a:gd name="connsiteY2" fmla="*/ 280331 h 512284"/>
                <a:gd name="connsiteX3" fmla="*/ 1768199 w 1862761"/>
                <a:gd name="connsiteY3" fmla="*/ 512284 h 512284"/>
                <a:gd name="connsiteX4" fmla="*/ 1633730 w 1862761"/>
                <a:gd name="connsiteY4" fmla="*/ 280331 h 512284"/>
                <a:gd name="connsiteX5" fmla="*/ 202792 w 1862761"/>
                <a:gd name="connsiteY5" fmla="*/ 280330 h 512284"/>
                <a:gd name="connsiteX6" fmla="*/ 193927 w 1862761"/>
                <a:gd name="connsiteY6" fmla="*/ 276658 h 512284"/>
                <a:gd name="connsiteX7" fmla="*/ 146883 w 1862761"/>
                <a:gd name="connsiteY7" fmla="*/ 275924 h 512284"/>
                <a:gd name="connsiteX8" fmla="*/ 77621 w 1862761"/>
                <a:gd name="connsiteY8" fmla="*/ 278398 h 512284"/>
                <a:gd name="connsiteX9" fmla="*/ 43145 w 1862761"/>
                <a:gd name="connsiteY9" fmla="*/ 300615 h 512284"/>
                <a:gd name="connsiteX10" fmla="*/ 0 w 1862761"/>
                <a:gd name="connsiteY10" fmla="*/ 257470 h 512284"/>
                <a:gd name="connsiteX11" fmla="*/ 43145 w 1862761"/>
                <a:gd name="connsiteY11" fmla="*/ 214325 h 512284"/>
                <a:gd name="connsiteX12" fmla="*/ 77962 w 1862761"/>
                <a:gd name="connsiteY12" fmla="*/ 237364 h 512284"/>
                <a:gd name="connsiteX13" fmla="*/ 144128 w 1862761"/>
                <a:gd name="connsiteY13" fmla="*/ 237364 h 512284"/>
                <a:gd name="connsiteX14" fmla="*/ 78590 w 1862761"/>
                <a:gd name="connsiteY14" fmla="*/ 91626 h 512284"/>
                <a:gd name="connsiteX15" fmla="*/ 43145 w 1862761"/>
                <a:gd name="connsiteY15" fmla="*/ 116181 h 512284"/>
                <a:gd name="connsiteX16" fmla="*/ 0 w 1862761"/>
                <a:gd name="connsiteY16" fmla="*/ 73036 h 512284"/>
                <a:gd name="connsiteX17" fmla="*/ 43145 w 1862761"/>
                <a:gd name="connsiteY17" fmla="*/ 29891 h 512284"/>
                <a:gd name="connsiteX18" fmla="*/ 74790 w 1862761"/>
                <a:gd name="connsiteY18" fmla="*/ 45274 h 512284"/>
                <a:gd name="connsiteX19" fmla="*/ 149637 w 1862761"/>
                <a:gd name="connsiteY19" fmla="*/ 74866 h 512284"/>
                <a:gd name="connsiteX20" fmla="*/ 192030 w 1862761"/>
                <a:gd name="connsiteY20" fmla="*/ 239070 h 512284"/>
                <a:gd name="connsiteX21" fmla="*/ 202793 w 1862761"/>
                <a:gd name="connsiteY21" fmla="*/ 234611 h 512284"/>
                <a:gd name="connsiteX22" fmla="*/ 1633443 w 1862761"/>
                <a:gd name="connsiteY22" fmla="*/ 234611 h 512284"/>
                <a:gd name="connsiteX23" fmla="*/ 1768199 w 1862761"/>
                <a:gd name="connsiteY23" fmla="*/ 0 h 512284"/>
                <a:gd name="connsiteX24" fmla="*/ 1659550 w 1862761"/>
                <a:gd name="connsiteY24" fmla="*/ 234611 h 512284"/>
                <a:gd name="connsiteX25" fmla="*/ 1839901 w 1862761"/>
                <a:gd name="connsiteY25" fmla="*/ 234611 h 512284"/>
                <a:gd name="connsiteX26" fmla="*/ 1862761 w 1862761"/>
                <a:gd name="connsiteY26" fmla="*/ 257471 h 512284"/>
                <a:gd name="connsiteX0" fmla="*/ 1862761 w 1862761"/>
                <a:gd name="connsiteY0" fmla="*/ 257471 h 512284"/>
                <a:gd name="connsiteX1" fmla="*/ 1839901 w 1862761"/>
                <a:gd name="connsiteY1" fmla="*/ 280331 h 512284"/>
                <a:gd name="connsiteX2" fmla="*/ 1659797 w 1862761"/>
                <a:gd name="connsiteY2" fmla="*/ 280331 h 512284"/>
                <a:gd name="connsiteX3" fmla="*/ 1768199 w 1862761"/>
                <a:gd name="connsiteY3" fmla="*/ 512284 h 512284"/>
                <a:gd name="connsiteX4" fmla="*/ 1633730 w 1862761"/>
                <a:gd name="connsiteY4" fmla="*/ 280331 h 512284"/>
                <a:gd name="connsiteX5" fmla="*/ 202792 w 1862761"/>
                <a:gd name="connsiteY5" fmla="*/ 280330 h 512284"/>
                <a:gd name="connsiteX6" fmla="*/ 193927 w 1862761"/>
                <a:gd name="connsiteY6" fmla="*/ 276658 h 512284"/>
                <a:gd name="connsiteX7" fmla="*/ 146883 w 1862761"/>
                <a:gd name="connsiteY7" fmla="*/ 275924 h 512284"/>
                <a:gd name="connsiteX8" fmla="*/ 77621 w 1862761"/>
                <a:gd name="connsiteY8" fmla="*/ 278398 h 512284"/>
                <a:gd name="connsiteX9" fmla="*/ 43145 w 1862761"/>
                <a:gd name="connsiteY9" fmla="*/ 300615 h 512284"/>
                <a:gd name="connsiteX10" fmla="*/ 0 w 1862761"/>
                <a:gd name="connsiteY10" fmla="*/ 257470 h 512284"/>
                <a:gd name="connsiteX11" fmla="*/ 43145 w 1862761"/>
                <a:gd name="connsiteY11" fmla="*/ 214325 h 512284"/>
                <a:gd name="connsiteX12" fmla="*/ 77962 w 1862761"/>
                <a:gd name="connsiteY12" fmla="*/ 237364 h 512284"/>
                <a:gd name="connsiteX13" fmla="*/ 144128 w 1862761"/>
                <a:gd name="connsiteY13" fmla="*/ 237364 h 512284"/>
                <a:gd name="connsiteX14" fmla="*/ 78590 w 1862761"/>
                <a:gd name="connsiteY14" fmla="*/ 91626 h 512284"/>
                <a:gd name="connsiteX15" fmla="*/ 43145 w 1862761"/>
                <a:gd name="connsiteY15" fmla="*/ 116181 h 512284"/>
                <a:gd name="connsiteX16" fmla="*/ 0 w 1862761"/>
                <a:gd name="connsiteY16" fmla="*/ 73036 h 512284"/>
                <a:gd name="connsiteX17" fmla="*/ 43145 w 1862761"/>
                <a:gd name="connsiteY17" fmla="*/ 29891 h 512284"/>
                <a:gd name="connsiteX18" fmla="*/ 74790 w 1862761"/>
                <a:gd name="connsiteY18" fmla="*/ 45274 h 512284"/>
                <a:gd name="connsiteX19" fmla="*/ 192030 w 1862761"/>
                <a:gd name="connsiteY19" fmla="*/ 239070 h 512284"/>
                <a:gd name="connsiteX20" fmla="*/ 202793 w 1862761"/>
                <a:gd name="connsiteY20" fmla="*/ 234611 h 512284"/>
                <a:gd name="connsiteX21" fmla="*/ 1633443 w 1862761"/>
                <a:gd name="connsiteY21" fmla="*/ 234611 h 512284"/>
                <a:gd name="connsiteX22" fmla="*/ 1768199 w 1862761"/>
                <a:gd name="connsiteY22" fmla="*/ 0 h 512284"/>
                <a:gd name="connsiteX23" fmla="*/ 1659550 w 1862761"/>
                <a:gd name="connsiteY23" fmla="*/ 234611 h 512284"/>
                <a:gd name="connsiteX24" fmla="*/ 1839901 w 1862761"/>
                <a:gd name="connsiteY24" fmla="*/ 234611 h 512284"/>
                <a:gd name="connsiteX25" fmla="*/ 1862761 w 1862761"/>
                <a:gd name="connsiteY25" fmla="*/ 257471 h 512284"/>
                <a:gd name="connsiteX0" fmla="*/ 1862761 w 1862761"/>
                <a:gd name="connsiteY0" fmla="*/ 257471 h 512284"/>
                <a:gd name="connsiteX1" fmla="*/ 1839901 w 1862761"/>
                <a:gd name="connsiteY1" fmla="*/ 280331 h 512284"/>
                <a:gd name="connsiteX2" fmla="*/ 1659797 w 1862761"/>
                <a:gd name="connsiteY2" fmla="*/ 280331 h 512284"/>
                <a:gd name="connsiteX3" fmla="*/ 1768199 w 1862761"/>
                <a:gd name="connsiteY3" fmla="*/ 512284 h 512284"/>
                <a:gd name="connsiteX4" fmla="*/ 1633730 w 1862761"/>
                <a:gd name="connsiteY4" fmla="*/ 280331 h 512284"/>
                <a:gd name="connsiteX5" fmla="*/ 202792 w 1862761"/>
                <a:gd name="connsiteY5" fmla="*/ 280330 h 512284"/>
                <a:gd name="connsiteX6" fmla="*/ 193927 w 1862761"/>
                <a:gd name="connsiteY6" fmla="*/ 276658 h 512284"/>
                <a:gd name="connsiteX7" fmla="*/ 146883 w 1862761"/>
                <a:gd name="connsiteY7" fmla="*/ 275924 h 512284"/>
                <a:gd name="connsiteX8" fmla="*/ 77621 w 1862761"/>
                <a:gd name="connsiteY8" fmla="*/ 278398 h 512284"/>
                <a:gd name="connsiteX9" fmla="*/ 43145 w 1862761"/>
                <a:gd name="connsiteY9" fmla="*/ 300615 h 512284"/>
                <a:gd name="connsiteX10" fmla="*/ 0 w 1862761"/>
                <a:gd name="connsiteY10" fmla="*/ 257470 h 512284"/>
                <a:gd name="connsiteX11" fmla="*/ 43145 w 1862761"/>
                <a:gd name="connsiteY11" fmla="*/ 214325 h 512284"/>
                <a:gd name="connsiteX12" fmla="*/ 77962 w 1862761"/>
                <a:gd name="connsiteY12" fmla="*/ 237364 h 512284"/>
                <a:gd name="connsiteX13" fmla="*/ 144128 w 1862761"/>
                <a:gd name="connsiteY13" fmla="*/ 237364 h 512284"/>
                <a:gd name="connsiteX14" fmla="*/ 78590 w 1862761"/>
                <a:gd name="connsiteY14" fmla="*/ 91626 h 512284"/>
                <a:gd name="connsiteX15" fmla="*/ 43145 w 1862761"/>
                <a:gd name="connsiteY15" fmla="*/ 116181 h 512284"/>
                <a:gd name="connsiteX16" fmla="*/ 0 w 1862761"/>
                <a:gd name="connsiteY16" fmla="*/ 73036 h 512284"/>
                <a:gd name="connsiteX17" fmla="*/ 43145 w 1862761"/>
                <a:gd name="connsiteY17" fmla="*/ 29891 h 512284"/>
                <a:gd name="connsiteX18" fmla="*/ 192030 w 1862761"/>
                <a:gd name="connsiteY18" fmla="*/ 239070 h 512284"/>
                <a:gd name="connsiteX19" fmla="*/ 202793 w 1862761"/>
                <a:gd name="connsiteY19" fmla="*/ 234611 h 512284"/>
                <a:gd name="connsiteX20" fmla="*/ 1633443 w 1862761"/>
                <a:gd name="connsiteY20" fmla="*/ 234611 h 512284"/>
                <a:gd name="connsiteX21" fmla="*/ 1768199 w 1862761"/>
                <a:gd name="connsiteY21" fmla="*/ 0 h 512284"/>
                <a:gd name="connsiteX22" fmla="*/ 1659550 w 1862761"/>
                <a:gd name="connsiteY22" fmla="*/ 234611 h 512284"/>
                <a:gd name="connsiteX23" fmla="*/ 1839901 w 1862761"/>
                <a:gd name="connsiteY23" fmla="*/ 234611 h 512284"/>
                <a:gd name="connsiteX24" fmla="*/ 1862761 w 1862761"/>
                <a:gd name="connsiteY24" fmla="*/ 257471 h 512284"/>
                <a:gd name="connsiteX0" fmla="*/ 1862773 w 1862773"/>
                <a:gd name="connsiteY0" fmla="*/ 257471 h 512284"/>
                <a:gd name="connsiteX1" fmla="*/ 1839913 w 1862773"/>
                <a:gd name="connsiteY1" fmla="*/ 280331 h 512284"/>
                <a:gd name="connsiteX2" fmla="*/ 1659809 w 1862773"/>
                <a:gd name="connsiteY2" fmla="*/ 280331 h 512284"/>
                <a:gd name="connsiteX3" fmla="*/ 1768211 w 1862773"/>
                <a:gd name="connsiteY3" fmla="*/ 512284 h 512284"/>
                <a:gd name="connsiteX4" fmla="*/ 1633742 w 1862773"/>
                <a:gd name="connsiteY4" fmla="*/ 280331 h 512284"/>
                <a:gd name="connsiteX5" fmla="*/ 202804 w 1862773"/>
                <a:gd name="connsiteY5" fmla="*/ 280330 h 512284"/>
                <a:gd name="connsiteX6" fmla="*/ 193939 w 1862773"/>
                <a:gd name="connsiteY6" fmla="*/ 276658 h 512284"/>
                <a:gd name="connsiteX7" fmla="*/ 146895 w 1862773"/>
                <a:gd name="connsiteY7" fmla="*/ 275924 h 512284"/>
                <a:gd name="connsiteX8" fmla="*/ 77633 w 1862773"/>
                <a:gd name="connsiteY8" fmla="*/ 278398 h 512284"/>
                <a:gd name="connsiteX9" fmla="*/ 43157 w 1862773"/>
                <a:gd name="connsiteY9" fmla="*/ 300615 h 512284"/>
                <a:gd name="connsiteX10" fmla="*/ 12 w 1862773"/>
                <a:gd name="connsiteY10" fmla="*/ 257470 h 512284"/>
                <a:gd name="connsiteX11" fmla="*/ 43157 w 1862773"/>
                <a:gd name="connsiteY11" fmla="*/ 214325 h 512284"/>
                <a:gd name="connsiteX12" fmla="*/ 77974 w 1862773"/>
                <a:gd name="connsiteY12" fmla="*/ 237364 h 512284"/>
                <a:gd name="connsiteX13" fmla="*/ 144140 w 1862773"/>
                <a:gd name="connsiteY13" fmla="*/ 237364 h 512284"/>
                <a:gd name="connsiteX14" fmla="*/ 78602 w 1862773"/>
                <a:gd name="connsiteY14" fmla="*/ 91626 h 512284"/>
                <a:gd name="connsiteX15" fmla="*/ 43157 w 1862773"/>
                <a:gd name="connsiteY15" fmla="*/ 116181 h 512284"/>
                <a:gd name="connsiteX16" fmla="*/ 12 w 1862773"/>
                <a:gd name="connsiteY16" fmla="*/ 73036 h 512284"/>
                <a:gd name="connsiteX17" fmla="*/ 38660 w 1862773"/>
                <a:gd name="connsiteY17" fmla="*/ 26718 h 512284"/>
                <a:gd name="connsiteX18" fmla="*/ 43157 w 1862773"/>
                <a:gd name="connsiteY18" fmla="*/ 29891 h 512284"/>
                <a:gd name="connsiteX19" fmla="*/ 192042 w 1862773"/>
                <a:gd name="connsiteY19" fmla="*/ 239070 h 512284"/>
                <a:gd name="connsiteX20" fmla="*/ 202805 w 1862773"/>
                <a:gd name="connsiteY20" fmla="*/ 234611 h 512284"/>
                <a:gd name="connsiteX21" fmla="*/ 1633455 w 1862773"/>
                <a:gd name="connsiteY21" fmla="*/ 234611 h 512284"/>
                <a:gd name="connsiteX22" fmla="*/ 1768211 w 1862773"/>
                <a:gd name="connsiteY22" fmla="*/ 0 h 512284"/>
                <a:gd name="connsiteX23" fmla="*/ 1659562 w 1862773"/>
                <a:gd name="connsiteY23" fmla="*/ 234611 h 512284"/>
                <a:gd name="connsiteX24" fmla="*/ 1839913 w 1862773"/>
                <a:gd name="connsiteY24" fmla="*/ 234611 h 512284"/>
                <a:gd name="connsiteX25" fmla="*/ 1862773 w 1862773"/>
                <a:gd name="connsiteY25" fmla="*/ 257471 h 512284"/>
                <a:gd name="connsiteX0" fmla="*/ 1862811 w 1862811"/>
                <a:gd name="connsiteY0" fmla="*/ 257471 h 512284"/>
                <a:gd name="connsiteX1" fmla="*/ 1839951 w 1862811"/>
                <a:gd name="connsiteY1" fmla="*/ 280331 h 512284"/>
                <a:gd name="connsiteX2" fmla="*/ 1659847 w 1862811"/>
                <a:gd name="connsiteY2" fmla="*/ 280331 h 512284"/>
                <a:gd name="connsiteX3" fmla="*/ 1768249 w 1862811"/>
                <a:gd name="connsiteY3" fmla="*/ 512284 h 512284"/>
                <a:gd name="connsiteX4" fmla="*/ 1633780 w 1862811"/>
                <a:gd name="connsiteY4" fmla="*/ 280331 h 512284"/>
                <a:gd name="connsiteX5" fmla="*/ 202842 w 1862811"/>
                <a:gd name="connsiteY5" fmla="*/ 280330 h 512284"/>
                <a:gd name="connsiteX6" fmla="*/ 193977 w 1862811"/>
                <a:gd name="connsiteY6" fmla="*/ 276658 h 512284"/>
                <a:gd name="connsiteX7" fmla="*/ 146933 w 1862811"/>
                <a:gd name="connsiteY7" fmla="*/ 275924 h 512284"/>
                <a:gd name="connsiteX8" fmla="*/ 77671 w 1862811"/>
                <a:gd name="connsiteY8" fmla="*/ 278398 h 512284"/>
                <a:gd name="connsiteX9" fmla="*/ 43195 w 1862811"/>
                <a:gd name="connsiteY9" fmla="*/ 300615 h 512284"/>
                <a:gd name="connsiteX10" fmla="*/ 50 w 1862811"/>
                <a:gd name="connsiteY10" fmla="*/ 257470 h 512284"/>
                <a:gd name="connsiteX11" fmla="*/ 43195 w 1862811"/>
                <a:gd name="connsiteY11" fmla="*/ 214325 h 512284"/>
                <a:gd name="connsiteX12" fmla="*/ 78012 w 1862811"/>
                <a:gd name="connsiteY12" fmla="*/ 237364 h 512284"/>
                <a:gd name="connsiteX13" fmla="*/ 144178 w 1862811"/>
                <a:gd name="connsiteY13" fmla="*/ 237364 h 512284"/>
                <a:gd name="connsiteX14" fmla="*/ 78640 w 1862811"/>
                <a:gd name="connsiteY14" fmla="*/ 91626 h 512284"/>
                <a:gd name="connsiteX15" fmla="*/ 43195 w 1862811"/>
                <a:gd name="connsiteY15" fmla="*/ 116181 h 512284"/>
                <a:gd name="connsiteX16" fmla="*/ 50 w 1862811"/>
                <a:gd name="connsiteY16" fmla="*/ 73036 h 512284"/>
                <a:gd name="connsiteX17" fmla="*/ 38698 w 1862811"/>
                <a:gd name="connsiteY17" fmla="*/ 26718 h 512284"/>
                <a:gd name="connsiteX18" fmla="*/ 192080 w 1862811"/>
                <a:gd name="connsiteY18" fmla="*/ 239070 h 512284"/>
                <a:gd name="connsiteX19" fmla="*/ 202843 w 1862811"/>
                <a:gd name="connsiteY19" fmla="*/ 234611 h 512284"/>
                <a:gd name="connsiteX20" fmla="*/ 1633493 w 1862811"/>
                <a:gd name="connsiteY20" fmla="*/ 234611 h 512284"/>
                <a:gd name="connsiteX21" fmla="*/ 1768249 w 1862811"/>
                <a:gd name="connsiteY21" fmla="*/ 0 h 512284"/>
                <a:gd name="connsiteX22" fmla="*/ 1659600 w 1862811"/>
                <a:gd name="connsiteY22" fmla="*/ 234611 h 512284"/>
                <a:gd name="connsiteX23" fmla="*/ 1839951 w 1862811"/>
                <a:gd name="connsiteY23" fmla="*/ 234611 h 512284"/>
                <a:gd name="connsiteX24" fmla="*/ 1862811 w 1862811"/>
                <a:gd name="connsiteY24" fmla="*/ 257471 h 512284"/>
                <a:gd name="connsiteX0" fmla="*/ 1862761 w 1862761"/>
                <a:gd name="connsiteY0" fmla="*/ 257471 h 512284"/>
                <a:gd name="connsiteX1" fmla="*/ 1839901 w 1862761"/>
                <a:gd name="connsiteY1" fmla="*/ 280331 h 512284"/>
                <a:gd name="connsiteX2" fmla="*/ 1659797 w 1862761"/>
                <a:gd name="connsiteY2" fmla="*/ 280331 h 512284"/>
                <a:gd name="connsiteX3" fmla="*/ 1768199 w 1862761"/>
                <a:gd name="connsiteY3" fmla="*/ 512284 h 512284"/>
                <a:gd name="connsiteX4" fmla="*/ 1633730 w 1862761"/>
                <a:gd name="connsiteY4" fmla="*/ 280331 h 512284"/>
                <a:gd name="connsiteX5" fmla="*/ 202792 w 1862761"/>
                <a:gd name="connsiteY5" fmla="*/ 280330 h 512284"/>
                <a:gd name="connsiteX6" fmla="*/ 193927 w 1862761"/>
                <a:gd name="connsiteY6" fmla="*/ 276658 h 512284"/>
                <a:gd name="connsiteX7" fmla="*/ 146883 w 1862761"/>
                <a:gd name="connsiteY7" fmla="*/ 275924 h 512284"/>
                <a:gd name="connsiteX8" fmla="*/ 77621 w 1862761"/>
                <a:gd name="connsiteY8" fmla="*/ 278398 h 512284"/>
                <a:gd name="connsiteX9" fmla="*/ 43145 w 1862761"/>
                <a:gd name="connsiteY9" fmla="*/ 300615 h 512284"/>
                <a:gd name="connsiteX10" fmla="*/ 0 w 1862761"/>
                <a:gd name="connsiteY10" fmla="*/ 257470 h 512284"/>
                <a:gd name="connsiteX11" fmla="*/ 43145 w 1862761"/>
                <a:gd name="connsiteY11" fmla="*/ 214325 h 512284"/>
                <a:gd name="connsiteX12" fmla="*/ 77962 w 1862761"/>
                <a:gd name="connsiteY12" fmla="*/ 237364 h 512284"/>
                <a:gd name="connsiteX13" fmla="*/ 144128 w 1862761"/>
                <a:gd name="connsiteY13" fmla="*/ 237364 h 512284"/>
                <a:gd name="connsiteX14" fmla="*/ 78590 w 1862761"/>
                <a:gd name="connsiteY14" fmla="*/ 91626 h 512284"/>
                <a:gd name="connsiteX15" fmla="*/ 43145 w 1862761"/>
                <a:gd name="connsiteY15" fmla="*/ 116181 h 512284"/>
                <a:gd name="connsiteX16" fmla="*/ 0 w 1862761"/>
                <a:gd name="connsiteY16" fmla="*/ 73036 h 512284"/>
                <a:gd name="connsiteX17" fmla="*/ 192030 w 1862761"/>
                <a:gd name="connsiteY17" fmla="*/ 239070 h 512284"/>
                <a:gd name="connsiteX18" fmla="*/ 202793 w 1862761"/>
                <a:gd name="connsiteY18" fmla="*/ 234611 h 512284"/>
                <a:gd name="connsiteX19" fmla="*/ 1633443 w 1862761"/>
                <a:gd name="connsiteY19" fmla="*/ 234611 h 512284"/>
                <a:gd name="connsiteX20" fmla="*/ 1768199 w 1862761"/>
                <a:gd name="connsiteY20" fmla="*/ 0 h 512284"/>
                <a:gd name="connsiteX21" fmla="*/ 1659550 w 1862761"/>
                <a:gd name="connsiteY21" fmla="*/ 234611 h 512284"/>
                <a:gd name="connsiteX22" fmla="*/ 1839901 w 1862761"/>
                <a:gd name="connsiteY22" fmla="*/ 234611 h 512284"/>
                <a:gd name="connsiteX23" fmla="*/ 1862761 w 1862761"/>
                <a:gd name="connsiteY23" fmla="*/ 257471 h 512284"/>
                <a:gd name="connsiteX0" fmla="*/ 1862761 w 1862761"/>
                <a:gd name="connsiteY0" fmla="*/ 257471 h 512284"/>
                <a:gd name="connsiteX1" fmla="*/ 1839901 w 1862761"/>
                <a:gd name="connsiteY1" fmla="*/ 280331 h 512284"/>
                <a:gd name="connsiteX2" fmla="*/ 1659797 w 1862761"/>
                <a:gd name="connsiteY2" fmla="*/ 280331 h 512284"/>
                <a:gd name="connsiteX3" fmla="*/ 1768199 w 1862761"/>
                <a:gd name="connsiteY3" fmla="*/ 512284 h 512284"/>
                <a:gd name="connsiteX4" fmla="*/ 1633730 w 1862761"/>
                <a:gd name="connsiteY4" fmla="*/ 280331 h 512284"/>
                <a:gd name="connsiteX5" fmla="*/ 202792 w 1862761"/>
                <a:gd name="connsiteY5" fmla="*/ 280330 h 512284"/>
                <a:gd name="connsiteX6" fmla="*/ 193927 w 1862761"/>
                <a:gd name="connsiteY6" fmla="*/ 276658 h 512284"/>
                <a:gd name="connsiteX7" fmla="*/ 146883 w 1862761"/>
                <a:gd name="connsiteY7" fmla="*/ 275924 h 512284"/>
                <a:gd name="connsiteX8" fmla="*/ 77621 w 1862761"/>
                <a:gd name="connsiteY8" fmla="*/ 278398 h 512284"/>
                <a:gd name="connsiteX9" fmla="*/ 43145 w 1862761"/>
                <a:gd name="connsiteY9" fmla="*/ 300615 h 512284"/>
                <a:gd name="connsiteX10" fmla="*/ 0 w 1862761"/>
                <a:gd name="connsiteY10" fmla="*/ 257470 h 512284"/>
                <a:gd name="connsiteX11" fmla="*/ 43145 w 1862761"/>
                <a:gd name="connsiteY11" fmla="*/ 214325 h 512284"/>
                <a:gd name="connsiteX12" fmla="*/ 77962 w 1862761"/>
                <a:gd name="connsiteY12" fmla="*/ 237364 h 512284"/>
                <a:gd name="connsiteX13" fmla="*/ 144128 w 1862761"/>
                <a:gd name="connsiteY13" fmla="*/ 237364 h 512284"/>
                <a:gd name="connsiteX14" fmla="*/ 78590 w 1862761"/>
                <a:gd name="connsiteY14" fmla="*/ 91626 h 512284"/>
                <a:gd name="connsiteX15" fmla="*/ 43145 w 1862761"/>
                <a:gd name="connsiteY15" fmla="*/ 116181 h 512284"/>
                <a:gd name="connsiteX16" fmla="*/ 192030 w 1862761"/>
                <a:gd name="connsiteY16" fmla="*/ 239070 h 512284"/>
                <a:gd name="connsiteX17" fmla="*/ 202793 w 1862761"/>
                <a:gd name="connsiteY17" fmla="*/ 234611 h 512284"/>
                <a:gd name="connsiteX18" fmla="*/ 1633443 w 1862761"/>
                <a:gd name="connsiteY18" fmla="*/ 234611 h 512284"/>
                <a:gd name="connsiteX19" fmla="*/ 1768199 w 1862761"/>
                <a:gd name="connsiteY19" fmla="*/ 0 h 512284"/>
                <a:gd name="connsiteX20" fmla="*/ 1659550 w 1862761"/>
                <a:gd name="connsiteY20" fmla="*/ 234611 h 512284"/>
                <a:gd name="connsiteX21" fmla="*/ 1839901 w 1862761"/>
                <a:gd name="connsiteY21" fmla="*/ 234611 h 512284"/>
                <a:gd name="connsiteX22" fmla="*/ 1862761 w 1862761"/>
                <a:gd name="connsiteY22" fmla="*/ 257471 h 512284"/>
                <a:gd name="connsiteX0" fmla="*/ 1862761 w 1862761"/>
                <a:gd name="connsiteY0" fmla="*/ 257471 h 512284"/>
                <a:gd name="connsiteX1" fmla="*/ 1839901 w 1862761"/>
                <a:gd name="connsiteY1" fmla="*/ 280331 h 512284"/>
                <a:gd name="connsiteX2" fmla="*/ 1659797 w 1862761"/>
                <a:gd name="connsiteY2" fmla="*/ 280331 h 512284"/>
                <a:gd name="connsiteX3" fmla="*/ 1768199 w 1862761"/>
                <a:gd name="connsiteY3" fmla="*/ 512284 h 512284"/>
                <a:gd name="connsiteX4" fmla="*/ 1633730 w 1862761"/>
                <a:gd name="connsiteY4" fmla="*/ 280331 h 512284"/>
                <a:gd name="connsiteX5" fmla="*/ 202792 w 1862761"/>
                <a:gd name="connsiteY5" fmla="*/ 280330 h 512284"/>
                <a:gd name="connsiteX6" fmla="*/ 193927 w 1862761"/>
                <a:gd name="connsiteY6" fmla="*/ 276658 h 512284"/>
                <a:gd name="connsiteX7" fmla="*/ 146883 w 1862761"/>
                <a:gd name="connsiteY7" fmla="*/ 275924 h 512284"/>
                <a:gd name="connsiteX8" fmla="*/ 77621 w 1862761"/>
                <a:gd name="connsiteY8" fmla="*/ 278398 h 512284"/>
                <a:gd name="connsiteX9" fmla="*/ 43145 w 1862761"/>
                <a:gd name="connsiteY9" fmla="*/ 300615 h 512284"/>
                <a:gd name="connsiteX10" fmla="*/ 0 w 1862761"/>
                <a:gd name="connsiteY10" fmla="*/ 257470 h 512284"/>
                <a:gd name="connsiteX11" fmla="*/ 43145 w 1862761"/>
                <a:gd name="connsiteY11" fmla="*/ 214325 h 512284"/>
                <a:gd name="connsiteX12" fmla="*/ 77962 w 1862761"/>
                <a:gd name="connsiteY12" fmla="*/ 237364 h 512284"/>
                <a:gd name="connsiteX13" fmla="*/ 144128 w 1862761"/>
                <a:gd name="connsiteY13" fmla="*/ 237364 h 512284"/>
                <a:gd name="connsiteX14" fmla="*/ 78590 w 1862761"/>
                <a:gd name="connsiteY14" fmla="*/ 91626 h 512284"/>
                <a:gd name="connsiteX15" fmla="*/ 192030 w 1862761"/>
                <a:gd name="connsiteY15" fmla="*/ 239070 h 512284"/>
                <a:gd name="connsiteX16" fmla="*/ 202793 w 1862761"/>
                <a:gd name="connsiteY16" fmla="*/ 234611 h 512284"/>
                <a:gd name="connsiteX17" fmla="*/ 1633443 w 1862761"/>
                <a:gd name="connsiteY17" fmla="*/ 234611 h 512284"/>
                <a:gd name="connsiteX18" fmla="*/ 1768199 w 1862761"/>
                <a:gd name="connsiteY18" fmla="*/ 0 h 512284"/>
                <a:gd name="connsiteX19" fmla="*/ 1659550 w 1862761"/>
                <a:gd name="connsiteY19" fmla="*/ 234611 h 512284"/>
                <a:gd name="connsiteX20" fmla="*/ 1839901 w 1862761"/>
                <a:gd name="connsiteY20" fmla="*/ 234611 h 512284"/>
                <a:gd name="connsiteX21" fmla="*/ 1862761 w 1862761"/>
                <a:gd name="connsiteY21" fmla="*/ 257471 h 512284"/>
                <a:gd name="connsiteX0" fmla="*/ 1862761 w 1862761"/>
                <a:gd name="connsiteY0" fmla="*/ 257471 h 512284"/>
                <a:gd name="connsiteX1" fmla="*/ 1839901 w 1862761"/>
                <a:gd name="connsiteY1" fmla="*/ 280331 h 512284"/>
                <a:gd name="connsiteX2" fmla="*/ 1659797 w 1862761"/>
                <a:gd name="connsiteY2" fmla="*/ 280331 h 512284"/>
                <a:gd name="connsiteX3" fmla="*/ 1768199 w 1862761"/>
                <a:gd name="connsiteY3" fmla="*/ 512284 h 512284"/>
                <a:gd name="connsiteX4" fmla="*/ 1633730 w 1862761"/>
                <a:gd name="connsiteY4" fmla="*/ 280331 h 512284"/>
                <a:gd name="connsiteX5" fmla="*/ 202792 w 1862761"/>
                <a:gd name="connsiteY5" fmla="*/ 280330 h 512284"/>
                <a:gd name="connsiteX6" fmla="*/ 193927 w 1862761"/>
                <a:gd name="connsiteY6" fmla="*/ 276658 h 512284"/>
                <a:gd name="connsiteX7" fmla="*/ 146883 w 1862761"/>
                <a:gd name="connsiteY7" fmla="*/ 275924 h 512284"/>
                <a:gd name="connsiteX8" fmla="*/ 77621 w 1862761"/>
                <a:gd name="connsiteY8" fmla="*/ 278398 h 512284"/>
                <a:gd name="connsiteX9" fmla="*/ 43145 w 1862761"/>
                <a:gd name="connsiteY9" fmla="*/ 300615 h 512284"/>
                <a:gd name="connsiteX10" fmla="*/ 0 w 1862761"/>
                <a:gd name="connsiteY10" fmla="*/ 257470 h 512284"/>
                <a:gd name="connsiteX11" fmla="*/ 43145 w 1862761"/>
                <a:gd name="connsiteY11" fmla="*/ 214325 h 512284"/>
                <a:gd name="connsiteX12" fmla="*/ 77962 w 1862761"/>
                <a:gd name="connsiteY12" fmla="*/ 237364 h 512284"/>
                <a:gd name="connsiteX13" fmla="*/ 144128 w 1862761"/>
                <a:gd name="connsiteY13" fmla="*/ 237364 h 512284"/>
                <a:gd name="connsiteX14" fmla="*/ 192030 w 1862761"/>
                <a:gd name="connsiteY14" fmla="*/ 239070 h 512284"/>
                <a:gd name="connsiteX15" fmla="*/ 202793 w 1862761"/>
                <a:gd name="connsiteY15" fmla="*/ 234611 h 512284"/>
                <a:gd name="connsiteX16" fmla="*/ 1633443 w 1862761"/>
                <a:gd name="connsiteY16" fmla="*/ 234611 h 512284"/>
                <a:gd name="connsiteX17" fmla="*/ 1768199 w 1862761"/>
                <a:gd name="connsiteY17" fmla="*/ 0 h 512284"/>
                <a:gd name="connsiteX18" fmla="*/ 1659550 w 1862761"/>
                <a:gd name="connsiteY18" fmla="*/ 234611 h 512284"/>
                <a:gd name="connsiteX19" fmla="*/ 1839901 w 1862761"/>
                <a:gd name="connsiteY19" fmla="*/ 234611 h 512284"/>
                <a:gd name="connsiteX20" fmla="*/ 1862761 w 1862761"/>
                <a:gd name="connsiteY20" fmla="*/ 257471 h 512284"/>
                <a:gd name="connsiteX0" fmla="*/ 1862761 w 1862761"/>
                <a:gd name="connsiteY0" fmla="*/ 257471 h 512284"/>
                <a:gd name="connsiteX1" fmla="*/ 1659797 w 1862761"/>
                <a:gd name="connsiteY1" fmla="*/ 280331 h 512284"/>
                <a:gd name="connsiteX2" fmla="*/ 1768199 w 1862761"/>
                <a:gd name="connsiteY2" fmla="*/ 512284 h 512284"/>
                <a:gd name="connsiteX3" fmla="*/ 1633730 w 1862761"/>
                <a:gd name="connsiteY3" fmla="*/ 280331 h 512284"/>
                <a:gd name="connsiteX4" fmla="*/ 202792 w 1862761"/>
                <a:gd name="connsiteY4" fmla="*/ 280330 h 512284"/>
                <a:gd name="connsiteX5" fmla="*/ 193927 w 1862761"/>
                <a:gd name="connsiteY5" fmla="*/ 276658 h 512284"/>
                <a:gd name="connsiteX6" fmla="*/ 146883 w 1862761"/>
                <a:gd name="connsiteY6" fmla="*/ 275924 h 512284"/>
                <a:gd name="connsiteX7" fmla="*/ 77621 w 1862761"/>
                <a:gd name="connsiteY7" fmla="*/ 278398 h 512284"/>
                <a:gd name="connsiteX8" fmla="*/ 43145 w 1862761"/>
                <a:gd name="connsiteY8" fmla="*/ 300615 h 512284"/>
                <a:gd name="connsiteX9" fmla="*/ 0 w 1862761"/>
                <a:gd name="connsiteY9" fmla="*/ 257470 h 512284"/>
                <a:gd name="connsiteX10" fmla="*/ 43145 w 1862761"/>
                <a:gd name="connsiteY10" fmla="*/ 214325 h 512284"/>
                <a:gd name="connsiteX11" fmla="*/ 77962 w 1862761"/>
                <a:gd name="connsiteY11" fmla="*/ 237364 h 512284"/>
                <a:gd name="connsiteX12" fmla="*/ 144128 w 1862761"/>
                <a:gd name="connsiteY12" fmla="*/ 237364 h 512284"/>
                <a:gd name="connsiteX13" fmla="*/ 192030 w 1862761"/>
                <a:gd name="connsiteY13" fmla="*/ 239070 h 512284"/>
                <a:gd name="connsiteX14" fmla="*/ 202793 w 1862761"/>
                <a:gd name="connsiteY14" fmla="*/ 234611 h 512284"/>
                <a:gd name="connsiteX15" fmla="*/ 1633443 w 1862761"/>
                <a:gd name="connsiteY15" fmla="*/ 234611 h 512284"/>
                <a:gd name="connsiteX16" fmla="*/ 1768199 w 1862761"/>
                <a:gd name="connsiteY16" fmla="*/ 0 h 512284"/>
                <a:gd name="connsiteX17" fmla="*/ 1659550 w 1862761"/>
                <a:gd name="connsiteY17" fmla="*/ 234611 h 512284"/>
                <a:gd name="connsiteX18" fmla="*/ 1839901 w 1862761"/>
                <a:gd name="connsiteY18" fmla="*/ 234611 h 512284"/>
                <a:gd name="connsiteX19" fmla="*/ 1862761 w 1862761"/>
                <a:gd name="connsiteY19" fmla="*/ 257471 h 512284"/>
                <a:gd name="connsiteX0" fmla="*/ 1839901 w 1839901"/>
                <a:gd name="connsiteY0" fmla="*/ 234611 h 512284"/>
                <a:gd name="connsiteX1" fmla="*/ 1659797 w 1839901"/>
                <a:gd name="connsiteY1" fmla="*/ 280331 h 512284"/>
                <a:gd name="connsiteX2" fmla="*/ 1768199 w 1839901"/>
                <a:gd name="connsiteY2" fmla="*/ 512284 h 512284"/>
                <a:gd name="connsiteX3" fmla="*/ 1633730 w 1839901"/>
                <a:gd name="connsiteY3" fmla="*/ 280331 h 512284"/>
                <a:gd name="connsiteX4" fmla="*/ 202792 w 1839901"/>
                <a:gd name="connsiteY4" fmla="*/ 280330 h 512284"/>
                <a:gd name="connsiteX5" fmla="*/ 193927 w 1839901"/>
                <a:gd name="connsiteY5" fmla="*/ 276658 h 512284"/>
                <a:gd name="connsiteX6" fmla="*/ 146883 w 1839901"/>
                <a:gd name="connsiteY6" fmla="*/ 275924 h 512284"/>
                <a:gd name="connsiteX7" fmla="*/ 77621 w 1839901"/>
                <a:gd name="connsiteY7" fmla="*/ 278398 h 512284"/>
                <a:gd name="connsiteX8" fmla="*/ 43145 w 1839901"/>
                <a:gd name="connsiteY8" fmla="*/ 300615 h 512284"/>
                <a:gd name="connsiteX9" fmla="*/ 0 w 1839901"/>
                <a:gd name="connsiteY9" fmla="*/ 257470 h 512284"/>
                <a:gd name="connsiteX10" fmla="*/ 43145 w 1839901"/>
                <a:gd name="connsiteY10" fmla="*/ 214325 h 512284"/>
                <a:gd name="connsiteX11" fmla="*/ 77962 w 1839901"/>
                <a:gd name="connsiteY11" fmla="*/ 237364 h 512284"/>
                <a:gd name="connsiteX12" fmla="*/ 144128 w 1839901"/>
                <a:gd name="connsiteY12" fmla="*/ 237364 h 512284"/>
                <a:gd name="connsiteX13" fmla="*/ 192030 w 1839901"/>
                <a:gd name="connsiteY13" fmla="*/ 239070 h 512284"/>
                <a:gd name="connsiteX14" fmla="*/ 202793 w 1839901"/>
                <a:gd name="connsiteY14" fmla="*/ 234611 h 512284"/>
                <a:gd name="connsiteX15" fmla="*/ 1633443 w 1839901"/>
                <a:gd name="connsiteY15" fmla="*/ 234611 h 512284"/>
                <a:gd name="connsiteX16" fmla="*/ 1768199 w 1839901"/>
                <a:gd name="connsiteY16" fmla="*/ 0 h 512284"/>
                <a:gd name="connsiteX17" fmla="*/ 1659550 w 1839901"/>
                <a:gd name="connsiteY17" fmla="*/ 234611 h 512284"/>
                <a:gd name="connsiteX18" fmla="*/ 1839901 w 1839901"/>
                <a:gd name="connsiteY18" fmla="*/ 234611 h 512284"/>
                <a:gd name="connsiteX0" fmla="*/ 1659550 w 1768199"/>
                <a:gd name="connsiteY0" fmla="*/ 234611 h 512284"/>
                <a:gd name="connsiteX1" fmla="*/ 1659797 w 1768199"/>
                <a:gd name="connsiteY1" fmla="*/ 280331 h 512284"/>
                <a:gd name="connsiteX2" fmla="*/ 1768199 w 1768199"/>
                <a:gd name="connsiteY2" fmla="*/ 512284 h 512284"/>
                <a:gd name="connsiteX3" fmla="*/ 1633730 w 1768199"/>
                <a:gd name="connsiteY3" fmla="*/ 280331 h 512284"/>
                <a:gd name="connsiteX4" fmla="*/ 202792 w 1768199"/>
                <a:gd name="connsiteY4" fmla="*/ 280330 h 512284"/>
                <a:gd name="connsiteX5" fmla="*/ 193927 w 1768199"/>
                <a:gd name="connsiteY5" fmla="*/ 276658 h 512284"/>
                <a:gd name="connsiteX6" fmla="*/ 146883 w 1768199"/>
                <a:gd name="connsiteY6" fmla="*/ 275924 h 512284"/>
                <a:gd name="connsiteX7" fmla="*/ 77621 w 1768199"/>
                <a:gd name="connsiteY7" fmla="*/ 278398 h 512284"/>
                <a:gd name="connsiteX8" fmla="*/ 43145 w 1768199"/>
                <a:gd name="connsiteY8" fmla="*/ 300615 h 512284"/>
                <a:gd name="connsiteX9" fmla="*/ 0 w 1768199"/>
                <a:gd name="connsiteY9" fmla="*/ 257470 h 512284"/>
                <a:gd name="connsiteX10" fmla="*/ 43145 w 1768199"/>
                <a:gd name="connsiteY10" fmla="*/ 214325 h 512284"/>
                <a:gd name="connsiteX11" fmla="*/ 77962 w 1768199"/>
                <a:gd name="connsiteY11" fmla="*/ 237364 h 512284"/>
                <a:gd name="connsiteX12" fmla="*/ 144128 w 1768199"/>
                <a:gd name="connsiteY12" fmla="*/ 237364 h 512284"/>
                <a:gd name="connsiteX13" fmla="*/ 192030 w 1768199"/>
                <a:gd name="connsiteY13" fmla="*/ 239070 h 512284"/>
                <a:gd name="connsiteX14" fmla="*/ 202793 w 1768199"/>
                <a:gd name="connsiteY14" fmla="*/ 234611 h 512284"/>
                <a:gd name="connsiteX15" fmla="*/ 1633443 w 1768199"/>
                <a:gd name="connsiteY15" fmla="*/ 234611 h 512284"/>
                <a:gd name="connsiteX16" fmla="*/ 1768199 w 1768199"/>
                <a:gd name="connsiteY16" fmla="*/ 0 h 512284"/>
                <a:gd name="connsiteX17" fmla="*/ 1659550 w 1768199"/>
                <a:gd name="connsiteY17" fmla="*/ 234611 h 512284"/>
                <a:gd name="connsiteX0" fmla="*/ 1659550 w 1768318"/>
                <a:gd name="connsiteY0" fmla="*/ 234611 h 512284"/>
                <a:gd name="connsiteX1" fmla="*/ 1768199 w 1768318"/>
                <a:gd name="connsiteY1" fmla="*/ 512284 h 512284"/>
                <a:gd name="connsiteX2" fmla="*/ 1633730 w 1768318"/>
                <a:gd name="connsiteY2" fmla="*/ 280331 h 512284"/>
                <a:gd name="connsiteX3" fmla="*/ 202792 w 1768318"/>
                <a:gd name="connsiteY3" fmla="*/ 280330 h 512284"/>
                <a:gd name="connsiteX4" fmla="*/ 193927 w 1768318"/>
                <a:gd name="connsiteY4" fmla="*/ 276658 h 512284"/>
                <a:gd name="connsiteX5" fmla="*/ 146883 w 1768318"/>
                <a:gd name="connsiteY5" fmla="*/ 275924 h 512284"/>
                <a:gd name="connsiteX6" fmla="*/ 77621 w 1768318"/>
                <a:gd name="connsiteY6" fmla="*/ 278398 h 512284"/>
                <a:gd name="connsiteX7" fmla="*/ 43145 w 1768318"/>
                <a:gd name="connsiteY7" fmla="*/ 300615 h 512284"/>
                <a:gd name="connsiteX8" fmla="*/ 0 w 1768318"/>
                <a:gd name="connsiteY8" fmla="*/ 257470 h 512284"/>
                <a:gd name="connsiteX9" fmla="*/ 43145 w 1768318"/>
                <a:gd name="connsiteY9" fmla="*/ 214325 h 512284"/>
                <a:gd name="connsiteX10" fmla="*/ 77962 w 1768318"/>
                <a:gd name="connsiteY10" fmla="*/ 237364 h 512284"/>
                <a:gd name="connsiteX11" fmla="*/ 144128 w 1768318"/>
                <a:gd name="connsiteY11" fmla="*/ 237364 h 512284"/>
                <a:gd name="connsiteX12" fmla="*/ 192030 w 1768318"/>
                <a:gd name="connsiteY12" fmla="*/ 239070 h 512284"/>
                <a:gd name="connsiteX13" fmla="*/ 202793 w 1768318"/>
                <a:gd name="connsiteY13" fmla="*/ 234611 h 512284"/>
                <a:gd name="connsiteX14" fmla="*/ 1633443 w 1768318"/>
                <a:gd name="connsiteY14" fmla="*/ 234611 h 512284"/>
                <a:gd name="connsiteX15" fmla="*/ 1768199 w 1768318"/>
                <a:gd name="connsiteY15" fmla="*/ 0 h 512284"/>
                <a:gd name="connsiteX16" fmla="*/ 1659550 w 1768318"/>
                <a:gd name="connsiteY16" fmla="*/ 234611 h 512284"/>
                <a:gd name="connsiteX0" fmla="*/ 1659550 w 1768318"/>
                <a:gd name="connsiteY0" fmla="*/ 234611 h 512495"/>
                <a:gd name="connsiteX1" fmla="*/ 1768199 w 1768318"/>
                <a:gd name="connsiteY1" fmla="*/ 512284 h 512495"/>
                <a:gd name="connsiteX2" fmla="*/ 202792 w 1768318"/>
                <a:gd name="connsiteY2" fmla="*/ 280330 h 512495"/>
                <a:gd name="connsiteX3" fmla="*/ 193927 w 1768318"/>
                <a:gd name="connsiteY3" fmla="*/ 276658 h 512495"/>
                <a:gd name="connsiteX4" fmla="*/ 146883 w 1768318"/>
                <a:gd name="connsiteY4" fmla="*/ 275924 h 512495"/>
                <a:gd name="connsiteX5" fmla="*/ 77621 w 1768318"/>
                <a:gd name="connsiteY5" fmla="*/ 278398 h 512495"/>
                <a:gd name="connsiteX6" fmla="*/ 43145 w 1768318"/>
                <a:gd name="connsiteY6" fmla="*/ 300615 h 512495"/>
                <a:gd name="connsiteX7" fmla="*/ 0 w 1768318"/>
                <a:gd name="connsiteY7" fmla="*/ 257470 h 512495"/>
                <a:gd name="connsiteX8" fmla="*/ 43145 w 1768318"/>
                <a:gd name="connsiteY8" fmla="*/ 214325 h 512495"/>
                <a:gd name="connsiteX9" fmla="*/ 77962 w 1768318"/>
                <a:gd name="connsiteY9" fmla="*/ 237364 h 512495"/>
                <a:gd name="connsiteX10" fmla="*/ 144128 w 1768318"/>
                <a:gd name="connsiteY10" fmla="*/ 237364 h 512495"/>
                <a:gd name="connsiteX11" fmla="*/ 192030 w 1768318"/>
                <a:gd name="connsiteY11" fmla="*/ 239070 h 512495"/>
                <a:gd name="connsiteX12" fmla="*/ 202793 w 1768318"/>
                <a:gd name="connsiteY12" fmla="*/ 234611 h 512495"/>
                <a:gd name="connsiteX13" fmla="*/ 1633443 w 1768318"/>
                <a:gd name="connsiteY13" fmla="*/ 234611 h 512495"/>
                <a:gd name="connsiteX14" fmla="*/ 1768199 w 1768318"/>
                <a:gd name="connsiteY14" fmla="*/ 0 h 512495"/>
                <a:gd name="connsiteX15" fmla="*/ 1659550 w 1768318"/>
                <a:gd name="connsiteY15" fmla="*/ 234611 h 512495"/>
                <a:gd name="connsiteX0" fmla="*/ 1659550 w 1768199"/>
                <a:gd name="connsiteY0" fmla="*/ 234611 h 300615"/>
                <a:gd name="connsiteX1" fmla="*/ 202792 w 1768199"/>
                <a:gd name="connsiteY1" fmla="*/ 280330 h 300615"/>
                <a:gd name="connsiteX2" fmla="*/ 193927 w 1768199"/>
                <a:gd name="connsiteY2" fmla="*/ 276658 h 300615"/>
                <a:gd name="connsiteX3" fmla="*/ 146883 w 1768199"/>
                <a:gd name="connsiteY3" fmla="*/ 275924 h 300615"/>
                <a:gd name="connsiteX4" fmla="*/ 77621 w 1768199"/>
                <a:gd name="connsiteY4" fmla="*/ 278398 h 300615"/>
                <a:gd name="connsiteX5" fmla="*/ 43145 w 1768199"/>
                <a:gd name="connsiteY5" fmla="*/ 300615 h 300615"/>
                <a:gd name="connsiteX6" fmla="*/ 0 w 1768199"/>
                <a:gd name="connsiteY6" fmla="*/ 257470 h 300615"/>
                <a:gd name="connsiteX7" fmla="*/ 43145 w 1768199"/>
                <a:gd name="connsiteY7" fmla="*/ 214325 h 300615"/>
                <a:gd name="connsiteX8" fmla="*/ 77962 w 1768199"/>
                <a:gd name="connsiteY8" fmla="*/ 237364 h 300615"/>
                <a:gd name="connsiteX9" fmla="*/ 144128 w 1768199"/>
                <a:gd name="connsiteY9" fmla="*/ 237364 h 300615"/>
                <a:gd name="connsiteX10" fmla="*/ 192030 w 1768199"/>
                <a:gd name="connsiteY10" fmla="*/ 239070 h 300615"/>
                <a:gd name="connsiteX11" fmla="*/ 202793 w 1768199"/>
                <a:gd name="connsiteY11" fmla="*/ 234611 h 300615"/>
                <a:gd name="connsiteX12" fmla="*/ 1633443 w 1768199"/>
                <a:gd name="connsiteY12" fmla="*/ 234611 h 300615"/>
                <a:gd name="connsiteX13" fmla="*/ 1768199 w 1768199"/>
                <a:gd name="connsiteY13" fmla="*/ 0 h 300615"/>
                <a:gd name="connsiteX14" fmla="*/ 1659550 w 1768199"/>
                <a:gd name="connsiteY14" fmla="*/ 234611 h 300615"/>
                <a:gd name="connsiteX0" fmla="*/ 1659550 w 1768199"/>
                <a:gd name="connsiteY0" fmla="*/ 234611 h 300615"/>
                <a:gd name="connsiteX1" fmla="*/ 1466630 w 1768199"/>
                <a:gd name="connsiteY1" fmla="*/ 254278 h 300615"/>
                <a:gd name="connsiteX2" fmla="*/ 202792 w 1768199"/>
                <a:gd name="connsiteY2" fmla="*/ 280330 h 300615"/>
                <a:gd name="connsiteX3" fmla="*/ 193927 w 1768199"/>
                <a:gd name="connsiteY3" fmla="*/ 276658 h 300615"/>
                <a:gd name="connsiteX4" fmla="*/ 146883 w 1768199"/>
                <a:gd name="connsiteY4" fmla="*/ 275924 h 300615"/>
                <a:gd name="connsiteX5" fmla="*/ 77621 w 1768199"/>
                <a:gd name="connsiteY5" fmla="*/ 278398 h 300615"/>
                <a:gd name="connsiteX6" fmla="*/ 43145 w 1768199"/>
                <a:gd name="connsiteY6" fmla="*/ 300615 h 300615"/>
                <a:gd name="connsiteX7" fmla="*/ 0 w 1768199"/>
                <a:gd name="connsiteY7" fmla="*/ 257470 h 300615"/>
                <a:gd name="connsiteX8" fmla="*/ 43145 w 1768199"/>
                <a:gd name="connsiteY8" fmla="*/ 214325 h 300615"/>
                <a:gd name="connsiteX9" fmla="*/ 77962 w 1768199"/>
                <a:gd name="connsiteY9" fmla="*/ 237364 h 300615"/>
                <a:gd name="connsiteX10" fmla="*/ 144128 w 1768199"/>
                <a:gd name="connsiteY10" fmla="*/ 237364 h 300615"/>
                <a:gd name="connsiteX11" fmla="*/ 192030 w 1768199"/>
                <a:gd name="connsiteY11" fmla="*/ 239070 h 300615"/>
                <a:gd name="connsiteX12" fmla="*/ 202793 w 1768199"/>
                <a:gd name="connsiteY12" fmla="*/ 234611 h 300615"/>
                <a:gd name="connsiteX13" fmla="*/ 1633443 w 1768199"/>
                <a:gd name="connsiteY13" fmla="*/ 234611 h 300615"/>
                <a:gd name="connsiteX14" fmla="*/ 1768199 w 1768199"/>
                <a:gd name="connsiteY14" fmla="*/ 0 h 300615"/>
                <a:gd name="connsiteX15" fmla="*/ 1659550 w 1768199"/>
                <a:gd name="connsiteY15" fmla="*/ 234611 h 300615"/>
                <a:gd name="connsiteX0" fmla="*/ 1659550 w 1768199"/>
                <a:gd name="connsiteY0" fmla="*/ 234611 h 300615"/>
                <a:gd name="connsiteX1" fmla="*/ 1646241 w 1768199"/>
                <a:gd name="connsiteY1" fmla="*/ 275419 h 300615"/>
                <a:gd name="connsiteX2" fmla="*/ 202792 w 1768199"/>
                <a:gd name="connsiteY2" fmla="*/ 280330 h 300615"/>
                <a:gd name="connsiteX3" fmla="*/ 193927 w 1768199"/>
                <a:gd name="connsiteY3" fmla="*/ 276658 h 300615"/>
                <a:gd name="connsiteX4" fmla="*/ 146883 w 1768199"/>
                <a:gd name="connsiteY4" fmla="*/ 275924 h 300615"/>
                <a:gd name="connsiteX5" fmla="*/ 77621 w 1768199"/>
                <a:gd name="connsiteY5" fmla="*/ 278398 h 300615"/>
                <a:gd name="connsiteX6" fmla="*/ 43145 w 1768199"/>
                <a:gd name="connsiteY6" fmla="*/ 300615 h 300615"/>
                <a:gd name="connsiteX7" fmla="*/ 0 w 1768199"/>
                <a:gd name="connsiteY7" fmla="*/ 257470 h 300615"/>
                <a:gd name="connsiteX8" fmla="*/ 43145 w 1768199"/>
                <a:gd name="connsiteY8" fmla="*/ 214325 h 300615"/>
                <a:gd name="connsiteX9" fmla="*/ 77962 w 1768199"/>
                <a:gd name="connsiteY9" fmla="*/ 237364 h 300615"/>
                <a:gd name="connsiteX10" fmla="*/ 144128 w 1768199"/>
                <a:gd name="connsiteY10" fmla="*/ 237364 h 300615"/>
                <a:gd name="connsiteX11" fmla="*/ 192030 w 1768199"/>
                <a:gd name="connsiteY11" fmla="*/ 239070 h 300615"/>
                <a:gd name="connsiteX12" fmla="*/ 202793 w 1768199"/>
                <a:gd name="connsiteY12" fmla="*/ 234611 h 300615"/>
                <a:gd name="connsiteX13" fmla="*/ 1633443 w 1768199"/>
                <a:gd name="connsiteY13" fmla="*/ 234611 h 300615"/>
                <a:gd name="connsiteX14" fmla="*/ 1768199 w 1768199"/>
                <a:gd name="connsiteY14" fmla="*/ 0 h 300615"/>
                <a:gd name="connsiteX15" fmla="*/ 1659550 w 1768199"/>
                <a:gd name="connsiteY15" fmla="*/ 234611 h 300615"/>
                <a:gd name="connsiteX0" fmla="*/ 1768199 w 1805934"/>
                <a:gd name="connsiteY0" fmla="*/ 0 h 300615"/>
                <a:gd name="connsiteX1" fmla="*/ 1646241 w 1805934"/>
                <a:gd name="connsiteY1" fmla="*/ 275419 h 300615"/>
                <a:gd name="connsiteX2" fmla="*/ 202792 w 1805934"/>
                <a:gd name="connsiteY2" fmla="*/ 280330 h 300615"/>
                <a:gd name="connsiteX3" fmla="*/ 193927 w 1805934"/>
                <a:gd name="connsiteY3" fmla="*/ 276658 h 300615"/>
                <a:gd name="connsiteX4" fmla="*/ 146883 w 1805934"/>
                <a:gd name="connsiteY4" fmla="*/ 275924 h 300615"/>
                <a:gd name="connsiteX5" fmla="*/ 77621 w 1805934"/>
                <a:gd name="connsiteY5" fmla="*/ 278398 h 300615"/>
                <a:gd name="connsiteX6" fmla="*/ 43145 w 1805934"/>
                <a:gd name="connsiteY6" fmla="*/ 300615 h 300615"/>
                <a:gd name="connsiteX7" fmla="*/ 0 w 1805934"/>
                <a:gd name="connsiteY7" fmla="*/ 257470 h 300615"/>
                <a:gd name="connsiteX8" fmla="*/ 43145 w 1805934"/>
                <a:gd name="connsiteY8" fmla="*/ 214325 h 300615"/>
                <a:gd name="connsiteX9" fmla="*/ 77962 w 1805934"/>
                <a:gd name="connsiteY9" fmla="*/ 237364 h 300615"/>
                <a:gd name="connsiteX10" fmla="*/ 144128 w 1805934"/>
                <a:gd name="connsiteY10" fmla="*/ 237364 h 300615"/>
                <a:gd name="connsiteX11" fmla="*/ 192030 w 1805934"/>
                <a:gd name="connsiteY11" fmla="*/ 239070 h 300615"/>
                <a:gd name="connsiteX12" fmla="*/ 202793 w 1805934"/>
                <a:gd name="connsiteY12" fmla="*/ 234611 h 300615"/>
                <a:gd name="connsiteX13" fmla="*/ 1633443 w 1805934"/>
                <a:gd name="connsiteY13" fmla="*/ 234611 h 300615"/>
                <a:gd name="connsiteX14" fmla="*/ 1768199 w 1805934"/>
                <a:gd name="connsiteY14" fmla="*/ 0 h 300615"/>
                <a:gd name="connsiteX0" fmla="*/ 1768199 w 1768574"/>
                <a:gd name="connsiteY0" fmla="*/ 0 h 300615"/>
                <a:gd name="connsiteX1" fmla="*/ 1646241 w 1768574"/>
                <a:gd name="connsiteY1" fmla="*/ 275419 h 300615"/>
                <a:gd name="connsiteX2" fmla="*/ 202792 w 1768574"/>
                <a:gd name="connsiteY2" fmla="*/ 280330 h 300615"/>
                <a:gd name="connsiteX3" fmla="*/ 193927 w 1768574"/>
                <a:gd name="connsiteY3" fmla="*/ 276658 h 300615"/>
                <a:gd name="connsiteX4" fmla="*/ 146883 w 1768574"/>
                <a:gd name="connsiteY4" fmla="*/ 275924 h 300615"/>
                <a:gd name="connsiteX5" fmla="*/ 77621 w 1768574"/>
                <a:gd name="connsiteY5" fmla="*/ 278398 h 300615"/>
                <a:gd name="connsiteX6" fmla="*/ 43145 w 1768574"/>
                <a:gd name="connsiteY6" fmla="*/ 300615 h 300615"/>
                <a:gd name="connsiteX7" fmla="*/ 0 w 1768574"/>
                <a:gd name="connsiteY7" fmla="*/ 257470 h 300615"/>
                <a:gd name="connsiteX8" fmla="*/ 43145 w 1768574"/>
                <a:gd name="connsiteY8" fmla="*/ 214325 h 300615"/>
                <a:gd name="connsiteX9" fmla="*/ 77962 w 1768574"/>
                <a:gd name="connsiteY9" fmla="*/ 237364 h 300615"/>
                <a:gd name="connsiteX10" fmla="*/ 144128 w 1768574"/>
                <a:gd name="connsiteY10" fmla="*/ 237364 h 300615"/>
                <a:gd name="connsiteX11" fmla="*/ 192030 w 1768574"/>
                <a:gd name="connsiteY11" fmla="*/ 239070 h 300615"/>
                <a:gd name="connsiteX12" fmla="*/ 202793 w 1768574"/>
                <a:gd name="connsiteY12" fmla="*/ 234611 h 300615"/>
                <a:gd name="connsiteX13" fmla="*/ 1633443 w 1768574"/>
                <a:gd name="connsiteY13" fmla="*/ 234611 h 300615"/>
                <a:gd name="connsiteX14" fmla="*/ 1768199 w 1768574"/>
                <a:gd name="connsiteY14" fmla="*/ 0 h 300615"/>
                <a:gd name="connsiteX0" fmla="*/ 1768199 w 1768574"/>
                <a:gd name="connsiteY0" fmla="*/ 0 h 300615"/>
                <a:gd name="connsiteX1" fmla="*/ 1646241 w 1768574"/>
                <a:gd name="connsiteY1" fmla="*/ 275419 h 300615"/>
                <a:gd name="connsiteX2" fmla="*/ 202792 w 1768574"/>
                <a:gd name="connsiteY2" fmla="*/ 280330 h 300615"/>
                <a:gd name="connsiteX3" fmla="*/ 193927 w 1768574"/>
                <a:gd name="connsiteY3" fmla="*/ 276658 h 300615"/>
                <a:gd name="connsiteX4" fmla="*/ 146883 w 1768574"/>
                <a:gd name="connsiteY4" fmla="*/ 275924 h 300615"/>
                <a:gd name="connsiteX5" fmla="*/ 77621 w 1768574"/>
                <a:gd name="connsiteY5" fmla="*/ 278398 h 300615"/>
                <a:gd name="connsiteX6" fmla="*/ 43145 w 1768574"/>
                <a:gd name="connsiteY6" fmla="*/ 300615 h 300615"/>
                <a:gd name="connsiteX7" fmla="*/ 0 w 1768574"/>
                <a:gd name="connsiteY7" fmla="*/ 257470 h 300615"/>
                <a:gd name="connsiteX8" fmla="*/ 43145 w 1768574"/>
                <a:gd name="connsiteY8" fmla="*/ 214325 h 300615"/>
                <a:gd name="connsiteX9" fmla="*/ 77962 w 1768574"/>
                <a:gd name="connsiteY9" fmla="*/ 237364 h 300615"/>
                <a:gd name="connsiteX10" fmla="*/ 144128 w 1768574"/>
                <a:gd name="connsiteY10" fmla="*/ 237364 h 300615"/>
                <a:gd name="connsiteX11" fmla="*/ 192030 w 1768574"/>
                <a:gd name="connsiteY11" fmla="*/ 239070 h 300615"/>
                <a:gd name="connsiteX12" fmla="*/ 202793 w 1768574"/>
                <a:gd name="connsiteY12" fmla="*/ 234611 h 300615"/>
                <a:gd name="connsiteX13" fmla="*/ 1633443 w 1768574"/>
                <a:gd name="connsiteY13" fmla="*/ 234611 h 300615"/>
                <a:gd name="connsiteX14" fmla="*/ 1768199 w 1768574"/>
                <a:gd name="connsiteY14" fmla="*/ 0 h 300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768574" h="300615">
                  <a:moveTo>
                    <a:pt x="1768199" y="0"/>
                  </a:moveTo>
                  <a:cubicBezTo>
                    <a:pt x="1770332" y="6801"/>
                    <a:pt x="1767444" y="199631"/>
                    <a:pt x="1646241" y="275419"/>
                  </a:cubicBezTo>
                  <a:cubicBezTo>
                    <a:pt x="1403448" y="283039"/>
                    <a:pt x="414909" y="276600"/>
                    <a:pt x="202792" y="280330"/>
                  </a:cubicBezTo>
                  <a:lnTo>
                    <a:pt x="193927" y="276658"/>
                  </a:lnTo>
                  <a:cubicBezTo>
                    <a:pt x="184609" y="275924"/>
                    <a:pt x="166267" y="275634"/>
                    <a:pt x="146883" y="275924"/>
                  </a:cubicBezTo>
                  <a:lnTo>
                    <a:pt x="77621" y="278398"/>
                  </a:lnTo>
                  <a:cubicBezTo>
                    <a:pt x="72461" y="292306"/>
                    <a:pt x="58773" y="300615"/>
                    <a:pt x="43145" y="300615"/>
                  </a:cubicBezTo>
                  <a:cubicBezTo>
                    <a:pt x="19317" y="300615"/>
                    <a:pt x="0" y="281298"/>
                    <a:pt x="0" y="257470"/>
                  </a:cubicBezTo>
                  <a:cubicBezTo>
                    <a:pt x="0" y="233642"/>
                    <a:pt x="19317" y="214325"/>
                    <a:pt x="43145" y="214325"/>
                  </a:cubicBezTo>
                  <a:cubicBezTo>
                    <a:pt x="59110" y="214325"/>
                    <a:pt x="73051" y="222997"/>
                    <a:pt x="77962" y="237364"/>
                  </a:cubicBezTo>
                  <a:lnTo>
                    <a:pt x="144128" y="237364"/>
                  </a:lnTo>
                  <a:cubicBezTo>
                    <a:pt x="163139" y="237648"/>
                    <a:pt x="182253" y="239529"/>
                    <a:pt x="192030" y="239070"/>
                  </a:cubicBezTo>
                  <a:cubicBezTo>
                    <a:pt x="194636" y="235750"/>
                    <a:pt x="198582" y="234611"/>
                    <a:pt x="202793" y="234611"/>
                  </a:cubicBezTo>
                  <a:lnTo>
                    <a:pt x="1633443" y="234611"/>
                  </a:lnTo>
                  <a:cubicBezTo>
                    <a:pt x="1688471" y="224746"/>
                    <a:pt x="1696386" y="0"/>
                    <a:pt x="1768199" y="0"/>
                  </a:cubicBezTo>
                  <a:close/>
                </a:path>
              </a:pathLst>
            </a:custGeom>
            <a:solidFill>
              <a:srgbClr val="7C252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62" name="Freeform 62"/>
            <p:cNvSpPr>
              <a:spLocks/>
            </p:cNvSpPr>
            <p:nvPr/>
          </p:nvSpPr>
          <p:spPr bwMode="gray">
            <a:xfrm>
              <a:off x="7926791" y="4451094"/>
              <a:ext cx="254763" cy="258742"/>
            </a:xfrm>
            <a:custGeom>
              <a:avLst/>
              <a:gdLst>
                <a:gd name="T0" fmla="*/ 64 w 128"/>
                <a:gd name="T1" fmla="*/ 0 h 130"/>
                <a:gd name="T2" fmla="*/ 64 w 128"/>
                <a:gd name="T3" fmla="*/ 0 h 130"/>
                <a:gd name="T4" fmla="*/ 78 w 128"/>
                <a:gd name="T5" fmla="*/ 2 h 130"/>
                <a:gd name="T6" fmla="*/ 90 w 128"/>
                <a:gd name="T7" fmla="*/ 6 h 130"/>
                <a:gd name="T8" fmla="*/ 100 w 128"/>
                <a:gd name="T9" fmla="*/ 12 h 130"/>
                <a:gd name="T10" fmla="*/ 110 w 128"/>
                <a:gd name="T11" fmla="*/ 18 h 130"/>
                <a:gd name="T12" fmla="*/ 118 w 128"/>
                <a:gd name="T13" fmla="*/ 28 h 130"/>
                <a:gd name="T14" fmla="*/ 124 w 128"/>
                <a:gd name="T15" fmla="*/ 40 h 130"/>
                <a:gd name="T16" fmla="*/ 128 w 128"/>
                <a:gd name="T17" fmla="*/ 52 h 130"/>
                <a:gd name="T18" fmla="*/ 128 w 128"/>
                <a:gd name="T19" fmla="*/ 64 h 130"/>
                <a:gd name="T20" fmla="*/ 128 w 128"/>
                <a:gd name="T21" fmla="*/ 64 h 130"/>
                <a:gd name="T22" fmla="*/ 128 w 128"/>
                <a:gd name="T23" fmla="*/ 78 h 130"/>
                <a:gd name="T24" fmla="*/ 124 w 128"/>
                <a:gd name="T25" fmla="*/ 90 h 130"/>
                <a:gd name="T26" fmla="*/ 118 w 128"/>
                <a:gd name="T27" fmla="*/ 100 h 130"/>
                <a:gd name="T28" fmla="*/ 110 w 128"/>
                <a:gd name="T29" fmla="*/ 110 h 130"/>
                <a:gd name="T30" fmla="*/ 100 w 128"/>
                <a:gd name="T31" fmla="*/ 118 h 130"/>
                <a:gd name="T32" fmla="*/ 90 w 128"/>
                <a:gd name="T33" fmla="*/ 124 h 130"/>
                <a:gd name="T34" fmla="*/ 78 w 128"/>
                <a:gd name="T35" fmla="*/ 128 h 130"/>
                <a:gd name="T36" fmla="*/ 64 w 128"/>
                <a:gd name="T37" fmla="*/ 130 h 130"/>
                <a:gd name="T38" fmla="*/ 64 w 128"/>
                <a:gd name="T39" fmla="*/ 130 h 130"/>
                <a:gd name="T40" fmla="*/ 52 w 128"/>
                <a:gd name="T41" fmla="*/ 128 h 130"/>
                <a:gd name="T42" fmla="*/ 38 w 128"/>
                <a:gd name="T43" fmla="*/ 124 h 130"/>
                <a:gd name="T44" fmla="*/ 28 w 128"/>
                <a:gd name="T45" fmla="*/ 118 h 130"/>
                <a:gd name="T46" fmla="*/ 18 w 128"/>
                <a:gd name="T47" fmla="*/ 110 h 130"/>
                <a:gd name="T48" fmla="*/ 10 w 128"/>
                <a:gd name="T49" fmla="*/ 100 h 130"/>
                <a:gd name="T50" fmla="*/ 4 w 128"/>
                <a:gd name="T51" fmla="*/ 90 h 130"/>
                <a:gd name="T52" fmla="*/ 0 w 128"/>
                <a:gd name="T53" fmla="*/ 78 h 130"/>
                <a:gd name="T54" fmla="*/ 0 w 128"/>
                <a:gd name="T55" fmla="*/ 64 h 130"/>
                <a:gd name="T56" fmla="*/ 0 w 128"/>
                <a:gd name="T57" fmla="*/ 64 h 130"/>
                <a:gd name="T58" fmla="*/ 0 w 128"/>
                <a:gd name="T59" fmla="*/ 52 h 130"/>
                <a:gd name="T60" fmla="*/ 4 w 128"/>
                <a:gd name="T61" fmla="*/ 40 h 130"/>
                <a:gd name="T62" fmla="*/ 10 w 128"/>
                <a:gd name="T63" fmla="*/ 28 h 130"/>
                <a:gd name="T64" fmla="*/ 18 w 128"/>
                <a:gd name="T65" fmla="*/ 18 h 130"/>
                <a:gd name="T66" fmla="*/ 28 w 128"/>
                <a:gd name="T67" fmla="*/ 12 h 130"/>
                <a:gd name="T68" fmla="*/ 38 w 128"/>
                <a:gd name="T69" fmla="*/ 6 h 130"/>
                <a:gd name="T70" fmla="*/ 52 w 128"/>
                <a:gd name="T71" fmla="*/ 2 h 130"/>
                <a:gd name="T72" fmla="*/ 64 w 128"/>
                <a:gd name="T73" fmla="*/ 0 h 130"/>
                <a:gd name="T74" fmla="*/ 64 w 128"/>
                <a:gd name="T75" fmla="*/ 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28" h="130">
                  <a:moveTo>
                    <a:pt x="64" y="0"/>
                  </a:moveTo>
                  <a:lnTo>
                    <a:pt x="64" y="0"/>
                  </a:lnTo>
                  <a:lnTo>
                    <a:pt x="78" y="2"/>
                  </a:lnTo>
                  <a:lnTo>
                    <a:pt x="90" y="6"/>
                  </a:lnTo>
                  <a:lnTo>
                    <a:pt x="100" y="12"/>
                  </a:lnTo>
                  <a:lnTo>
                    <a:pt x="110" y="18"/>
                  </a:lnTo>
                  <a:lnTo>
                    <a:pt x="118" y="28"/>
                  </a:lnTo>
                  <a:lnTo>
                    <a:pt x="124" y="40"/>
                  </a:lnTo>
                  <a:lnTo>
                    <a:pt x="128" y="52"/>
                  </a:lnTo>
                  <a:lnTo>
                    <a:pt x="128" y="64"/>
                  </a:lnTo>
                  <a:lnTo>
                    <a:pt x="128" y="64"/>
                  </a:lnTo>
                  <a:lnTo>
                    <a:pt x="128" y="78"/>
                  </a:lnTo>
                  <a:lnTo>
                    <a:pt x="124" y="90"/>
                  </a:lnTo>
                  <a:lnTo>
                    <a:pt x="118" y="100"/>
                  </a:lnTo>
                  <a:lnTo>
                    <a:pt x="110" y="110"/>
                  </a:lnTo>
                  <a:lnTo>
                    <a:pt x="100" y="118"/>
                  </a:lnTo>
                  <a:lnTo>
                    <a:pt x="90" y="124"/>
                  </a:lnTo>
                  <a:lnTo>
                    <a:pt x="78" y="128"/>
                  </a:lnTo>
                  <a:lnTo>
                    <a:pt x="64" y="130"/>
                  </a:lnTo>
                  <a:lnTo>
                    <a:pt x="64" y="130"/>
                  </a:lnTo>
                  <a:lnTo>
                    <a:pt x="52" y="128"/>
                  </a:lnTo>
                  <a:lnTo>
                    <a:pt x="38" y="124"/>
                  </a:lnTo>
                  <a:lnTo>
                    <a:pt x="28" y="118"/>
                  </a:lnTo>
                  <a:lnTo>
                    <a:pt x="18" y="110"/>
                  </a:lnTo>
                  <a:lnTo>
                    <a:pt x="10" y="100"/>
                  </a:lnTo>
                  <a:lnTo>
                    <a:pt x="4" y="90"/>
                  </a:lnTo>
                  <a:lnTo>
                    <a:pt x="0" y="7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52"/>
                  </a:lnTo>
                  <a:lnTo>
                    <a:pt x="4" y="40"/>
                  </a:lnTo>
                  <a:lnTo>
                    <a:pt x="10" y="28"/>
                  </a:lnTo>
                  <a:lnTo>
                    <a:pt x="18" y="18"/>
                  </a:lnTo>
                  <a:lnTo>
                    <a:pt x="28" y="12"/>
                  </a:lnTo>
                  <a:lnTo>
                    <a:pt x="38" y="6"/>
                  </a:lnTo>
                  <a:lnTo>
                    <a:pt x="52" y="2"/>
                  </a:lnTo>
                  <a:lnTo>
                    <a:pt x="64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7C252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3" name="Freeform 63"/>
            <p:cNvSpPr>
              <a:spLocks/>
            </p:cNvSpPr>
            <p:nvPr/>
          </p:nvSpPr>
          <p:spPr bwMode="gray">
            <a:xfrm>
              <a:off x="7799412" y="4745662"/>
              <a:ext cx="712538" cy="1253913"/>
            </a:xfrm>
            <a:custGeom>
              <a:avLst/>
              <a:gdLst>
                <a:gd name="connsiteX0" fmla="*/ 190697 w 378482"/>
                <a:gd name="connsiteY0" fmla="*/ 0 h 458547"/>
                <a:gd name="connsiteX1" fmla="*/ 196520 w 378482"/>
                <a:gd name="connsiteY1" fmla="*/ 0 h 458547"/>
                <a:gd name="connsiteX2" fmla="*/ 202342 w 378482"/>
                <a:gd name="connsiteY2" fmla="*/ 1456 h 458547"/>
                <a:gd name="connsiteX3" fmla="*/ 215444 w 378482"/>
                <a:gd name="connsiteY3" fmla="*/ 7279 h 458547"/>
                <a:gd name="connsiteX4" fmla="*/ 224178 w 378482"/>
                <a:gd name="connsiteY4" fmla="*/ 13102 h 458547"/>
                <a:gd name="connsiteX5" fmla="*/ 232912 w 378482"/>
                <a:gd name="connsiteY5" fmla="*/ 20380 h 458547"/>
                <a:gd name="connsiteX6" fmla="*/ 237279 w 378482"/>
                <a:gd name="connsiteY6" fmla="*/ 24747 h 458547"/>
                <a:gd name="connsiteX7" fmla="*/ 246013 w 378482"/>
                <a:gd name="connsiteY7" fmla="*/ 42216 h 458547"/>
                <a:gd name="connsiteX8" fmla="*/ 263482 w 378482"/>
                <a:gd name="connsiteY8" fmla="*/ 77153 h 458547"/>
                <a:gd name="connsiteX9" fmla="*/ 288229 w 378482"/>
                <a:gd name="connsiteY9" fmla="*/ 128102 h 458547"/>
                <a:gd name="connsiteX10" fmla="*/ 289684 w 378482"/>
                <a:gd name="connsiteY10" fmla="*/ 129558 h 458547"/>
                <a:gd name="connsiteX11" fmla="*/ 358102 w 378482"/>
                <a:gd name="connsiteY11" fmla="*/ 141204 h 458547"/>
                <a:gd name="connsiteX12" fmla="*/ 365381 w 378482"/>
                <a:gd name="connsiteY12" fmla="*/ 144115 h 458547"/>
                <a:gd name="connsiteX13" fmla="*/ 372659 w 378482"/>
                <a:gd name="connsiteY13" fmla="*/ 148482 h 458547"/>
                <a:gd name="connsiteX14" fmla="*/ 377026 w 378482"/>
                <a:gd name="connsiteY14" fmla="*/ 155761 h 458547"/>
                <a:gd name="connsiteX15" fmla="*/ 378482 w 378482"/>
                <a:gd name="connsiteY15" fmla="*/ 164495 h 458547"/>
                <a:gd name="connsiteX16" fmla="*/ 378482 w 378482"/>
                <a:gd name="connsiteY16" fmla="*/ 170318 h 458547"/>
                <a:gd name="connsiteX17" fmla="*/ 377026 w 378482"/>
                <a:gd name="connsiteY17" fmla="*/ 174685 h 458547"/>
                <a:gd name="connsiteX18" fmla="*/ 375571 w 378482"/>
                <a:gd name="connsiteY18" fmla="*/ 179052 h 458547"/>
                <a:gd name="connsiteX19" fmla="*/ 372659 w 378482"/>
                <a:gd name="connsiteY19" fmla="*/ 181963 h 458547"/>
                <a:gd name="connsiteX20" fmla="*/ 368292 w 378482"/>
                <a:gd name="connsiteY20" fmla="*/ 184875 h 458547"/>
                <a:gd name="connsiteX21" fmla="*/ 363925 w 378482"/>
                <a:gd name="connsiteY21" fmla="*/ 187786 h 458547"/>
                <a:gd name="connsiteX22" fmla="*/ 359558 w 378482"/>
                <a:gd name="connsiteY22" fmla="*/ 187786 h 458547"/>
                <a:gd name="connsiteX23" fmla="*/ 355191 w 378482"/>
                <a:gd name="connsiteY23" fmla="*/ 189242 h 458547"/>
                <a:gd name="connsiteX24" fmla="*/ 352279 w 378482"/>
                <a:gd name="connsiteY24" fmla="*/ 189242 h 458547"/>
                <a:gd name="connsiteX25" fmla="*/ 264937 w 378482"/>
                <a:gd name="connsiteY25" fmla="*/ 171773 h 458547"/>
                <a:gd name="connsiteX26" fmla="*/ 260570 w 378482"/>
                <a:gd name="connsiteY26" fmla="*/ 168862 h 458547"/>
                <a:gd name="connsiteX27" fmla="*/ 256203 w 378482"/>
                <a:gd name="connsiteY27" fmla="*/ 165951 h 458547"/>
                <a:gd name="connsiteX28" fmla="*/ 250380 w 378482"/>
                <a:gd name="connsiteY28" fmla="*/ 158672 h 458547"/>
                <a:gd name="connsiteX29" fmla="*/ 230001 w 378482"/>
                <a:gd name="connsiteY29" fmla="*/ 116457 h 458547"/>
                <a:gd name="connsiteX30" fmla="*/ 215444 w 378482"/>
                <a:gd name="connsiteY30" fmla="*/ 187786 h 458547"/>
                <a:gd name="connsiteX31" fmla="*/ 283862 w 378482"/>
                <a:gd name="connsiteY31" fmla="*/ 262027 h 458547"/>
                <a:gd name="connsiteX32" fmla="*/ 286773 w 378482"/>
                <a:gd name="connsiteY32" fmla="*/ 263483 h 458547"/>
                <a:gd name="connsiteX33" fmla="*/ 289684 w 378482"/>
                <a:gd name="connsiteY33" fmla="*/ 269306 h 458547"/>
                <a:gd name="connsiteX34" fmla="*/ 292596 w 378482"/>
                <a:gd name="connsiteY34" fmla="*/ 278040 h 458547"/>
                <a:gd name="connsiteX35" fmla="*/ 294051 w 378482"/>
                <a:gd name="connsiteY35" fmla="*/ 292597 h 458547"/>
                <a:gd name="connsiteX36" fmla="*/ 294051 w 378482"/>
                <a:gd name="connsiteY36" fmla="*/ 362471 h 458547"/>
                <a:gd name="connsiteX37" fmla="*/ 294051 w 378482"/>
                <a:gd name="connsiteY37" fmla="*/ 429433 h 458547"/>
                <a:gd name="connsiteX38" fmla="*/ 294051 w 378482"/>
                <a:gd name="connsiteY38" fmla="*/ 430889 h 458547"/>
                <a:gd name="connsiteX39" fmla="*/ 294051 w 378482"/>
                <a:gd name="connsiteY39" fmla="*/ 433800 h 458547"/>
                <a:gd name="connsiteX40" fmla="*/ 292596 w 378482"/>
                <a:gd name="connsiteY40" fmla="*/ 438167 h 458547"/>
                <a:gd name="connsiteX41" fmla="*/ 291140 w 378482"/>
                <a:gd name="connsiteY41" fmla="*/ 443990 h 458547"/>
                <a:gd name="connsiteX42" fmla="*/ 288229 w 378482"/>
                <a:gd name="connsiteY42" fmla="*/ 448357 h 458547"/>
                <a:gd name="connsiteX43" fmla="*/ 283862 w 378482"/>
                <a:gd name="connsiteY43" fmla="*/ 451269 h 458547"/>
                <a:gd name="connsiteX44" fmla="*/ 280950 w 378482"/>
                <a:gd name="connsiteY44" fmla="*/ 454180 h 458547"/>
                <a:gd name="connsiteX45" fmla="*/ 276583 w 378482"/>
                <a:gd name="connsiteY45" fmla="*/ 457092 h 458547"/>
                <a:gd name="connsiteX46" fmla="*/ 270760 w 378482"/>
                <a:gd name="connsiteY46" fmla="*/ 458547 h 458547"/>
                <a:gd name="connsiteX47" fmla="*/ 264937 w 378482"/>
                <a:gd name="connsiteY47" fmla="*/ 458547 h 458547"/>
                <a:gd name="connsiteX48" fmla="*/ 260570 w 378482"/>
                <a:gd name="connsiteY48" fmla="*/ 458547 h 458547"/>
                <a:gd name="connsiteX49" fmla="*/ 254748 w 378482"/>
                <a:gd name="connsiteY49" fmla="*/ 457092 h 458547"/>
                <a:gd name="connsiteX50" fmla="*/ 250380 w 378482"/>
                <a:gd name="connsiteY50" fmla="*/ 454180 h 458547"/>
                <a:gd name="connsiteX51" fmla="*/ 247469 w 378482"/>
                <a:gd name="connsiteY51" fmla="*/ 451269 h 458547"/>
                <a:gd name="connsiteX52" fmla="*/ 243102 w 378482"/>
                <a:gd name="connsiteY52" fmla="*/ 448357 h 458547"/>
                <a:gd name="connsiteX53" fmla="*/ 240191 w 378482"/>
                <a:gd name="connsiteY53" fmla="*/ 443990 h 458547"/>
                <a:gd name="connsiteX54" fmla="*/ 238735 w 378482"/>
                <a:gd name="connsiteY54" fmla="*/ 438167 h 458547"/>
                <a:gd name="connsiteX55" fmla="*/ 237279 w 378482"/>
                <a:gd name="connsiteY55" fmla="*/ 433800 h 458547"/>
                <a:gd name="connsiteX56" fmla="*/ 237279 w 378482"/>
                <a:gd name="connsiteY56" fmla="*/ 307154 h 458547"/>
                <a:gd name="connsiteX57" fmla="*/ 165950 w 378482"/>
                <a:gd name="connsiteY57" fmla="*/ 235824 h 458547"/>
                <a:gd name="connsiteX58" fmla="*/ 152849 w 378482"/>
                <a:gd name="connsiteY58" fmla="*/ 315888 h 458547"/>
                <a:gd name="connsiteX59" fmla="*/ 149937 w 378482"/>
                <a:gd name="connsiteY59" fmla="*/ 324622 h 458547"/>
                <a:gd name="connsiteX60" fmla="*/ 141203 w 378482"/>
                <a:gd name="connsiteY60" fmla="*/ 336268 h 458547"/>
                <a:gd name="connsiteX61" fmla="*/ 50950 w 378482"/>
                <a:gd name="connsiteY61" fmla="*/ 442534 h 458547"/>
                <a:gd name="connsiteX62" fmla="*/ 46582 w 378482"/>
                <a:gd name="connsiteY62" fmla="*/ 446902 h 458547"/>
                <a:gd name="connsiteX63" fmla="*/ 40760 w 378482"/>
                <a:gd name="connsiteY63" fmla="*/ 451269 h 458547"/>
                <a:gd name="connsiteX64" fmla="*/ 34937 w 378482"/>
                <a:gd name="connsiteY64" fmla="*/ 452724 h 458547"/>
                <a:gd name="connsiteX65" fmla="*/ 27658 w 378482"/>
                <a:gd name="connsiteY65" fmla="*/ 454180 h 458547"/>
                <a:gd name="connsiteX66" fmla="*/ 21836 w 378482"/>
                <a:gd name="connsiteY66" fmla="*/ 454180 h 458547"/>
                <a:gd name="connsiteX67" fmla="*/ 17468 w 378482"/>
                <a:gd name="connsiteY67" fmla="*/ 451269 h 458547"/>
                <a:gd name="connsiteX68" fmla="*/ 13101 w 378482"/>
                <a:gd name="connsiteY68" fmla="*/ 449813 h 458547"/>
                <a:gd name="connsiteX69" fmla="*/ 8734 w 378482"/>
                <a:gd name="connsiteY69" fmla="*/ 445446 h 458547"/>
                <a:gd name="connsiteX70" fmla="*/ 4367 w 378482"/>
                <a:gd name="connsiteY70" fmla="*/ 442534 h 458547"/>
                <a:gd name="connsiteX71" fmla="*/ 2911 w 378482"/>
                <a:gd name="connsiteY71" fmla="*/ 436712 h 458547"/>
                <a:gd name="connsiteX72" fmla="*/ 1456 w 378482"/>
                <a:gd name="connsiteY72" fmla="*/ 432345 h 458547"/>
                <a:gd name="connsiteX73" fmla="*/ 0 w 378482"/>
                <a:gd name="connsiteY73" fmla="*/ 426522 h 458547"/>
                <a:gd name="connsiteX74" fmla="*/ 1456 w 378482"/>
                <a:gd name="connsiteY74" fmla="*/ 420699 h 458547"/>
                <a:gd name="connsiteX75" fmla="*/ 2911 w 378482"/>
                <a:gd name="connsiteY75" fmla="*/ 414876 h 458547"/>
                <a:gd name="connsiteX76" fmla="*/ 5823 w 378482"/>
                <a:gd name="connsiteY76" fmla="*/ 410509 h 458547"/>
                <a:gd name="connsiteX77" fmla="*/ 8734 w 378482"/>
                <a:gd name="connsiteY77" fmla="*/ 406142 h 458547"/>
                <a:gd name="connsiteX78" fmla="*/ 84431 w 378482"/>
                <a:gd name="connsiteY78" fmla="*/ 314432 h 458547"/>
                <a:gd name="connsiteX79" fmla="*/ 106266 w 378482"/>
                <a:gd name="connsiteY79" fmla="*/ 190698 h 458547"/>
                <a:gd name="connsiteX80" fmla="*/ 117912 w 378482"/>
                <a:gd name="connsiteY80" fmla="*/ 138292 h 458547"/>
                <a:gd name="connsiteX81" fmla="*/ 127016 w 378482"/>
                <a:gd name="connsiteY81" fmla="*/ 93909 h 458547"/>
                <a:gd name="connsiteX82" fmla="*/ 146852 w 378482"/>
                <a:gd name="connsiteY82" fmla="*/ 16944 h 458547"/>
                <a:gd name="connsiteX83" fmla="*/ 168861 w 378482"/>
                <a:gd name="connsiteY83" fmla="*/ 4367 h 458547"/>
                <a:gd name="connsiteX84" fmla="*/ 171773 w 378482"/>
                <a:gd name="connsiteY84" fmla="*/ 2912 h 458547"/>
                <a:gd name="connsiteX85" fmla="*/ 179051 w 378482"/>
                <a:gd name="connsiteY85" fmla="*/ 1456 h 458547"/>
                <a:gd name="connsiteX86" fmla="*/ 190697 w 378482"/>
                <a:gd name="connsiteY86" fmla="*/ 0 h 458547"/>
                <a:gd name="connsiteX0" fmla="*/ 190697 w 378482"/>
                <a:gd name="connsiteY0" fmla="*/ 0 h 458547"/>
                <a:gd name="connsiteX1" fmla="*/ 196520 w 378482"/>
                <a:gd name="connsiteY1" fmla="*/ 0 h 458547"/>
                <a:gd name="connsiteX2" fmla="*/ 202342 w 378482"/>
                <a:gd name="connsiteY2" fmla="*/ 1456 h 458547"/>
                <a:gd name="connsiteX3" fmla="*/ 215444 w 378482"/>
                <a:gd name="connsiteY3" fmla="*/ 7279 h 458547"/>
                <a:gd name="connsiteX4" fmla="*/ 224178 w 378482"/>
                <a:gd name="connsiteY4" fmla="*/ 13102 h 458547"/>
                <a:gd name="connsiteX5" fmla="*/ 232912 w 378482"/>
                <a:gd name="connsiteY5" fmla="*/ 20380 h 458547"/>
                <a:gd name="connsiteX6" fmla="*/ 237279 w 378482"/>
                <a:gd name="connsiteY6" fmla="*/ 24747 h 458547"/>
                <a:gd name="connsiteX7" fmla="*/ 246013 w 378482"/>
                <a:gd name="connsiteY7" fmla="*/ 42216 h 458547"/>
                <a:gd name="connsiteX8" fmla="*/ 263482 w 378482"/>
                <a:gd name="connsiteY8" fmla="*/ 77153 h 458547"/>
                <a:gd name="connsiteX9" fmla="*/ 288229 w 378482"/>
                <a:gd name="connsiteY9" fmla="*/ 128102 h 458547"/>
                <a:gd name="connsiteX10" fmla="*/ 289684 w 378482"/>
                <a:gd name="connsiteY10" fmla="*/ 129558 h 458547"/>
                <a:gd name="connsiteX11" fmla="*/ 358102 w 378482"/>
                <a:gd name="connsiteY11" fmla="*/ 141204 h 458547"/>
                <a:gd name="connsiteX12" fmla="*/ 365381 w 378482"/>
                <a:gd name="connsiteY12" fmla="*/ 144115 h 458547"/>
                <a:gd name="connsiteX13" fmla="*/ 372659 w 378482"/>
                <a:gd name="connsiteY13" fmla="*/ 148482 h 458547"/>
                <a:gd name="connsiteX14" fmla="*/ 377026 w 378482"/>
                <a:gd name="connsiteY14" fmla="*/ 155761 h 458547"/>
                <a:gd name="connsiteX15" fmla="*/ 378482 w 378482"/>
                <a:gd name="connsiteY15" fmla="*/ 164495 h 458547"/>
                <a:gd name="connsiteX16" fmla="*/ 378482 w 378482"/>
                <a:gd name="connsiteY16" fmla="*/ 170318 h 458547"/>
                <a:gd name="connsiteX17" fmla="*/ 377026 w 378482"/>
                <a:gd name="connsiteY17" fmla="*/ 174685 h 458547"/>
                <a:gd name="connsiteX18" fmla="*/ 375571 w 378482"/>
                <a:gd name="connsiteY18" fmla="*/ 179052 h 458547"/>
                <a:gd name="connsiteX19" fmla="*/ 372659 w 378482"/>
                <a:gd name="connsiteY19" fmla="*/ 181963 h 458547"/>
                <a:gd name="connsiteX20" fmla="*/ 368292 w 378482"/>
                <a:gd name="connsiteY20" fmla="*/ 184875 h 458547"/>
                <a:gd name="connsiteX21" fmla="*/ 363925 w 378482"/>
                <a:gd name="connsiteY21" fmla="*/ 187786 h 458547"/>
                <a:gd name="connsiteX22" fmla="*/ 359558 w 378482"/>
                <a:gd name="connsiteY22" fmla="*/ 187786 h 458547"/>
                <a:gd name="connsiteX23" fmla="*/ 355191 w 378482"/>
                <a:gd name="connsiteY23" fmla="*/ 189242 h 458547"/>
                <a:gd name="connsiteX24" fmla="*/ 352279 w 378482"/>
                <a:gd name="connsiteY24" fmla="*/ 189242 h 458547"/>
                <a:gd name="connsiteX25" fmla="*/ 264937 w 378482"/>
                <a:gd name="connsiteY25" fmla="*/ 171773 h 458547"/>
                <a:gd name="connsiteX26" fmla="*/ 260570 w 378482"/>
                <a:gd name="connsiteY26" fmla="*/ 168862 h 458547"/>
                <a:gd name="connsiteX27" fmla="*/ 256203 w 378482"/>
                <a:gd name="connsiteY27" fmla="*/ 165951 h 458547"/>
                <a:gd name="connsiteX28" fmla="*/ 250380 w 378482"/>
                <a:gd name="connsiteY28" fmla="*/ 158672 h 458547"/>
                <a:gd name="connsiteX29" fmla="*/ 230001 w 378482"/>
                <a:gd name="connsiteY29" fmla="*/ 116457 h 458547"/>
                <a:gd name="connsiteX30" fmla="*/ 215444 w 378482"/>
                <a:gd name="connsiteY30" fmla="*/ 187786 h 458547"/>
                <a:gd name="connsiteX31" fmla="*/ 283862 w 378482"/>
                <a:gd name="connsiteY31" fmla="*/ 262027 h 458547"/>
                <a:gd name="connsiteX32" fmla="*/ 286773 w 378482"/>
                <a:gd name="connsiteY32" fmla="*/ 263483 h 458547"/>
                <a:gd name="connsiteX33" fmla="*/ 289684 w 378482"/>
                <a:gd name="connsiteY33" fmla="*/ 269306 h 458547"/>
                <a:gd name="connsiteX34" fmla="*/ 292596 w 378482"/>
                <a:gd name="connsiteY34" fmla="*/ 278040 h 458547"/>
                <a:gd name="connsiteX35" fmla="*/ 294051 w 378482"/>
                <a:gd name="connsiteY35" fmla="*/ 292597 h 458547"/>
                <a:gd name="connsiteX36" fmla="*/ 294051 w 378482"/>
                <a:gd name="connsiteY36" fmla="*/ 362471 h 458547"/>
                <a:gd name="connsiteX37" fmla="*/ 294051 w 378482"/>
                <a:gd name="connsiteY37" fmla="*/ 429433 h 458547"/>
                <a:gd name="connsiteX38" fmla="*/ 294051 w 378482"/>
                <a:gd name="connsiteY38" fmla="*/ 430889 h 458547"/>
                <a:gd name="connsiteX39" fmla="*/ 294051 w 378482"/>
                <a:gd name="connsiteY39" fmla="*/ 433800 h 458547"/>
                <a:gd name="connsiteX40" fmla="*/ 292596 w 378482"/>
                <a:gd name="connsiteY40" fmla="*/ 438167 h 458547"/>
                <a:gd name="connsiteX41" fmla="*/ 291140 w 378482"/>
                <a:gd name="connsiteY41" fmla="*/ 443990 h 458547"/>
                <a:gd name="connsiteX42" fmla="*/ 288229 w 378482"/>
                <a:gd name="connsiteY42" fmla="*/ 448357 h 458547"/>
                <a:gd name="connsiteX43" fmla="*/ 283862 w 378482"/>
                <a:gd name="connsiteY43" fmla="*/ 451269 h 458547"/>
                <a:gd name="connsiteX44" fmla="*/ 280950 w 378482"/>
                <a:gd name="connsiteY44" fmla="*/ 454180 h 458547"/>
                <a:gd name="connsiteX45" fmla="*/ 276583 w 378482"/>
                <a:gd name="connsiteY45" fmla="*/ 457092 h 458547"/>
                <a:gd name="connsiteX46" fmla="*/ 270760 w 378482"/>
                <a:gd name="connsiteY46" fmla="*/ 458547 h 458547"/>
                <a:gd name="connsiteX47" fmla="*/ 264937 w 378482"/>
                <a:gd name="connsiteY47" fmla="*/ 458547 h 458547"/>
                <a:gd name="connsiteX48" fmla="*/ 260570 w 378482"/>
                <a:gd name="connsiteY48" fmla="*/ 458547 h 458547"/>
                <a:gd name="connsiteX49" fmla="*/ 254748 w 378482"/>
                <a:gd name="connsiteY49" fmla="*/ 457092 h 458547"/>
                <a:gd name="connsiteX50" fmla="*/ 250380 w 378482"/>
                <a:gd name="connsiteY50" fmla="*/ 454180 h 458547"/>
                <a:gd name="connsiteX51" fmla="*/ 247469 w 378482"/>
                <a:gd name="connsiteY51" fmla="*/ 451269 h 458547"/>
                <a:gd name="connsiteX52" fmla="*/ 243102 w 378482"/>
                <a:gd name="connsiteY52" fmla="*/ 448357 h 458547"/>
                <a:gd name="connsiteX53" fmla="*/ 240191 w 378482"/>
                <a:gd name="connsiteY53" fmla="*/ 443990 h 458547"/>
                <a:gd name="connsiteX54" fmla="*/ 238735 w 378482"/>
                <a:gd name="connsiteY54" fmla="*/ 438167 h 458547"/>
                <a:gd name="connsiteX55" fmla="*/ 237279 w 378482"/>
                <a:gd name="connsiteY55" fmla="*/ 433800 h 458547"/>
                <a:gd name="connsiteX56" fmla="*/ 237279 w 378482"/>
                <a:gd name="connsiteY56" fmla="*/ 307154 h 458547"/>
                <a:gd name="connsiteX57" fmla="*/ 165950 w 378482"/>
                <a:gd name="connsiteY57" fmla="*/ 235824 h 458547"/>
                <a:gd name="connsiteX58" fmla="*/ 152849 w 378482"/>
                <a:gd name="connsiteY58" fmla="*/ 315888 h 458547"/>
                <a:gd name="connsiteX59" fmla="*/ 149937 w 378482"/>
                <a:gd name="connsiteY59" fmla="*/ 324622 h 458547"/>
                <a:gd name="connsiteX60" fmla="*/ 141203 w 378482"/>
                <a:gd name="connsiteY60" fmla="*/ 336268 h 458547"/>
                <a:gd name="connsiteX61" fmla="*/ 50950 w 378482"/>
                <a:gd name="connsiteY61" fmla="*/ 442534 h 458547"/>
                <a:gd name="connsiteX62" fmla="*/ 46582 w 378482"/>
                <a:gd name="connsiteY62" fmla="*/ 446902 h 458547"/>
                <a:gd name="connsiteX63" fmla="*/ 40760 w 378482"/>
                <a:gd name="connsiteY63" fmla="*/ 451269 h 458547"/>
                <a:gd name="connsiteX64" fmla="*/ 34937 w 378482"/>
                <a:gd name="connsiteY64" fmla="*/ 452724 h 458547"/>
                <a:gd name="connsiteX65" fmla="*/ 27658 w 378482"/>
                <a:gd name="connsiteY65" fmla="*/ 454180 h 458547"/>
                <a:gd name="connsiteX66" fmla="*/ 21836 w 378482"/>
                <a:gd name="connsiteY66" fmla="*/ 454180 h 458547"/>
                <a:gd name="connsiteX67" fmla="*/ 17468 w 378482"/>
                <a:gd name="connsiteY67" fmla="*/ 451269 h 458547"/>
                <a:gd name="connsiteX68" fmla="*/ 13101 w 378482"/>
                <a:gd name="connsiteY68" fmla="*/ 449813 h 458547"/>
                <a:gd name="connsiteX69" fmla="*/ 8734 w 378482"/>
                <a:gd name="connsiteY69" fmla="*/ 445446 h 458547"/>
                <a:gd name="connsiteX70" fmla="*/ 4367 w 378482"/>
                <a:gd name="connsiteY70" fmla="*/ 442534 h 458547"/>
                <a:gd name="connsiteX71" fmla="*/ 2911 w 378482"/>
                <a:gd name="connsiteY71" fmla="*/ 436712 h 458547"/>
                <a:gd name="connsiteX72" fmla="*/ 1456 w 378482"/>
                <a:gd name="connsiteY72" fmla="*/ 432345 h 458547"/>
                <a:gd name="connsiteX73" fmla="*/ 0 w 378482"/>
                <a:gd name="connsiteY73" fmla="*/ 426522 h 458547"/>
                <a:gd name="connsiteX74" fmla="*/ 1456 w 378482"/>
                <a:gd name="connsiteY74" fmla="*/ 420699 h 458547"/>
                <a:gd name="connsiteX75" fmla="*/ 2911 w 378482"/>
                <a:gd name="connsiteY75" fmla="*/ 414876 h 458547"/>
                <a:gd name="connsiteX76" fmla="*/ 5823 w 378482"/>
                <a:gd name="connsiteY76" fmla="*/ 410509 h 458547"/>
                <a:gd name="connsiteX77" fmla="*/ 84431 w 378482"/>
                <a:gd name="connsiteY77" fmla="*/ 314432 h 458547"/>
                <a:gd name="connsiteX78" fmla="*/ 106266 w 378482"/>
                <a:gd name="connsiteY78" fmla="*/ 190698 h 458547"/>
                <a:gd name="connsiteX79" fmla="*/ 117912 w 378482"/>
                <a:gd name="connsiteY79" fmla="*/ 138292 h 458547"/>
                <a:gd name="connsiteX80" fmla="*/ 127016 w 378482"/>
                <a:gd name="connsiteY80" fmla="*/ 93909 h 458547"/>
                <a:gd name="connsiteX81" fmla="*/ 146852 w 378482"/>
                <a:gd name="connsiteY81" fmla="*/ 16944 h 458547"/>
                <a:gd name="connsiteX82" fmla="*/ 168861 w 378482"/>
                <a:gd name="connsiteY82" fmla="*/ 4367 h 458547"/>
                <a:gd name="connsiteX83" fmla="*/ 171773 w 378482"/>
                <a:gd name="connsiteY83" fmla="*/ 2912 h 458547"/>
                <a:gd name="connsiteX84" fmla="*/ 179051 w 378482"/>
                <a:gd name="connsiteY84" fmla="*/ 1456 h 458547"/>
                <a:gd name="connsiteX85" fmla="*/ 190697 w 378482"/>
                <a:gd name="connsiteY85" fmla="*/ 0 h 458547"/>
                <a:gd name="connsiteX0" fmla="*/ 190697 w 378482"/>
                <a:gd name="connsiteY0" fmla="*/ 0 h 458547"/>
                <a:gd name="connsiteX1" fmla="*/ 196520 w 378482"/>
                <a:gd name="connsiteY1" fmla="*/ 0 h 458547"/>
                <a:gd name="connsiteX2" fmla="*/ 202342 w 378482"/>
                <a:gd name="connsiteY2" fmla="*/ 1456 h 458547"/>
                <a:gd name="connsiteX3" fmla="*/ 215444 w 378482"/>
                <a:gd name="connsiteY3" fmla="*/ 7279 h 458547"/>
                <a:gd name="connsiteX4" fmla="*/ 224178 w 378482"/>
                <a:gd name="connsiteY4" fmla="*/ 13102 h 458547"/>
                <a:gd name="connsiteX5" fmla="*/ 232912 w 378482"/>
                <a:gd name="connsiteY5" fmla="*/ 20380 h 458547"/>
                <a:gd name="connsiteX6" fmla="*/ 237279 w 378482"/>
                <a:gd name="connsiteY6" fmla="*/ 24747 h 458547"/>
                <a:gd name="connsiteX7" fmla="*/ 246013 w 378482"/>
                <a:gd name="connsiteY7" fmla="*/ 42216 h 458547"/>
                <a:gd name="connsiteX8" fmla="*/ 263482 w 378482"/>
                <a:gd name="connsiteY8" fmla="*/ 77153 h 458547"/>
                <a:gd name="connsiteX9" fmla="*/ 288229 w 378482"/>
                <a:gd name="connsiteY9" fmla="*/ 128102 h 458547"/>
                <a:gd name="connsiteX10" fmla="*/ 289684 w 378482"/>
                <a:gd name="connsiteY10" fmla="*/ 129558 h 458547"/>
                <a:gd name="connsiteX11" fmla="*/ 358102 w 378482"/>
                <a:gd name="connsiteY11" fmla="*/ 141204 h 458547"/>
                <a:gd name="connsiteX12" fmla="*/ 365381 w 378482"/>
                <a:gd name="connsiteY12" fmla="*/ 144115 h 458547"/>
                <a:gd name="connsiteX13" fmla="*/ 372659 w 378482"/>
                <a:gd name="connsiteY13" fmla="*/ 148482 h 458547"/>
                <a:gd name="connsiteX14" fmla="*/ 377026 w 378482"/>
                <a:gd name="connsiteY14" fmla="*/ 155761 h 458547"/>
                <a:gd name="connsiteX15" fmla="*/ 378482 w 378482"/>
                <a:gd name="connsiteY15" fmla="*/ 164495 h 458547"/>
                <a:gd name="connsiteX16" fmla="*/ 378482 w 378482"/>
                <a:gd name="connsiteY16" fmla="*/ 170318 h 458547"/>
                <a:gd name="connsiteX17" fmla="*/ 377026 w 378482"/>
                <a:gd name="connsiteY17" fmla="*/ 174685 h 458547"/>
                <a:gd name="connsiteX18" fmla="*/ 375571 w 378482"/>
                <a:gd name="connsiteY18" fmla="*/ 179052 h 458547"/>
                <a:gd name="connsiteX19" fmla="*/ 372659 w 378482"/>
                <a:gd name="connsiteY19" fmla="*/ 181963 h 458547"/>
                <a:gd name="connsiteX20" fmla="*/ 368292 w 378482"/>
                <a:gd name="connsiteY20" fmla="*/ 184875 h 458547"/>
                <a:gd name="connsiteX21" fmla="*/ 363925 w 378482"/>
                <a:gd name="connsiteY21" fmla="*/ 187786 h 458547"/>
                <a:gd name="connsiteX22" fmla="*/ 359558 w 378482"/>
                <a:gd name="connsiteY22" fmla="*/ 187786 h 458547"/>
                <a:gd name="connsiteX23" fmla="*/ 355191 w 378482"/>
                <a:gd name="connsiteY23" fmla="*/ 189242 h 458547"/>
                <a:gd name="connsiteX24" fmla="*/ 352279 w 378482"/>
                <a:gd name="connsiteY24" fmla="*/ 189242 h 458547"/>
                <a:gd name="connsiteX25" fmla="*/ 264937 w 378482"/>
                <a:gd name="connsiteY25" fmla="*/ 171773 h 458547"/>
                <a:gd name="connsiteX26" fmla="*/ 260570 w 378482"/>
                <a:gd name="connsiteY26" fmla="*/ 168862 h 458547"/>
                <a:gd name="connsiteX27" fmla="*/ 256203 w 378482"/>
                <a:gd name="connsiteY27" fmla="*/ 165951 h 458547"/>
                <a:gd name="connsiteX28" fmla="*/ 250380 w 378482"/>
                <a:gd name="connsiteY28" fmla="*/ 158672 h 458547"/>
                <a:gd name="connsiteX29" fmla="*/ 230001 w 378482"/>
                <a:gd name="connsiteY29" fmla="*/ 116457 h 458547"/>
                <a:gd name="connsiteX30" fmla="*/ 215444 w 378482"/>
                <a:gd name="connsiteY30" fmla="*/ 187786 h 458547"/>
                <a:gd name="connsiteX31" fmla="*/ 283862 w 378482"/>
                <a:gd name="connsiteY31" fmla="*/ 262027 h 458547"/>
                <a:gd name="connsiteX32" fmla="*/ 286773 w 378482"/>
                <a:gd name="connsiteY32" fmla="*/ 263483 h 458547"/>
                <a:gd name="connsiteX33" fmla="*/ 289684 w 378482"/>
                <a:gd name="connsiteY33" fmla="*/ 269306 h 458547"/>
                <a:gd name="connsiteX34" fmla="*/ 292596 w 378482"/>
                <a:gd name="connsiteY34" fmla="*/ 278040 h 458547"/>
                <a:gd name="connsiteX35" fmla="*/ 294051 w 378482"/>
                <a:gd name="connsiteY35" fmla="*/ 292597 h 458547"/>
                <a:gd name="connsiteX36" fmla="*/ 294051 w 378482"/>
                <a:gd name="connsiteY36" fmla="*/ 362471 h 458547"/>
                <a:gd name="connsiteX37" fmla="*/ 294051 w 378482"/>
                <a:gd name="connsiteY37" fmla="*/ 429433 h 458547"/>
                <a:gd name="connsiteX38" fmla="*/ 294051 w 378482"/>
                <a:gd name="connsiteY38" fmla="*/ 430889 h 458547"/>
                <a:gd name="connsiteX39" fmla="*/ 294051 w 378482"/>
                <a:gd name="connsiteY39" fmla="*/ 433800 h 458547"/>
                <a:gd name="connsiteX40" fmla="*/ 292596 w 378482"/>
                <a:gd name="connsiteY40" fmla="*/ 438167 h 458547"/>
                <a:gd name="connsiteX41" fmla="*/ 291140 w 378482"/>
                <a:gd name="connsiteY41" fmla="*/ 443990 h 458547"/>
                <a:gd name="connsiteX42" fmla="*/ 288229 w 378482"/>
                <a:gd name="connsiteY42" fmla="*/ 448357 h 458547"/>
                <a:gd name="connsiteX43" fmla="*/ 283862 w 378482"/>
                <a:gd name="connsiteY43" fmla="*/ 451269 h 458547"/>
                <a:gd name="connsiteX44" fmla="*/ 280950 w 378482"/>
                <a:gd name="connsiteY44" fmla="*/ 454180 h 458547"/>
                <a:gd name="connsiteX45" fmla="*/ 276583 w 378482"/>
                <a:gd name="connsiteY45" fmla="*/ 457092 h 458547"/>
                <a:gd name="connsiteX46" fmla="*/ 270760 w 378482"/>
                <a:gd name="connsiteY46" fmla="*/ 458547 h 458547"/>
                <a:gd name="connsiteX47" fmla="*/ 264937 w 378482"/>
                <a:gd name="connsiteY47" fmla="*/ 458547 h 458547"/>
                <a:gd name="connsiteX48" fmla="*/ 260570 w 378482"/>
                <a:gd name="connsiteY48" fmla="*/ 458547 h 458547"/>
                <a:gd name="connsiteX49" fmla="*/ 254748 w 378482"/>
                <a:gd name="connsiteY49" fmla="*/ 457092 h 458547"/>
                <a:gd name="connsiteX50" fmla="*/ 250380 w 378482"/>
                <a:gd name="connsiteY50" fmla="*/ 454180 h 458547"/>
                <a:gd name="connsiteX51" fmla="*/ 247469 w 378482"/>
                <a:gd name="connsiteY51" fmla="*/ 451269 h 458547"/>
                <a:gd name="connsiteX52" fmla="*/ 243102 w 378482"/>
                <a:gd name="connsiteY52" fmla="*/ 448357 h 458547"/>
                <a:gd name="connsiteX53" fmla="*/ 240191 w 378482"/>
                <a:gd name="connsiteY53" fmla="*/ 443990 h 458547"/>
                <a:gd name="connsiteX54" fmla="*/ 238735 w 378482"/>
                <a:gd name="connsiteY54" fmla="*/ 438167 h 458547"/>
                <a:gd name="connsiteX55" fmla="*/ 237279 w 378482"/>
                <a:gd name="connsiteY55" fmla="*/ 433800 h 458547"/>
                <a:gd name="connsiteX56" fmla="*/ 237279 w 378482"/>
                <a:gd name="connsiteY56" fmla="*/ 307154 h 458547"/>
                <a:gd name="connsiteX57" fmla="*/ 165950 w 378482"/>
                <a:gd name="connsiteY57" fmla="*/ 235824 h 458547"/>
                <a:gd name="connsiteX58" fmla="*/ 152849 w 378482"/>
                <a:gd name="connsiteY58" fmla="*/ 315888 h 458547"/>
                <a:gd name="connsiteX59" fmla="*/ 149937 w 378482"/>
                <a:gd name="connsiteY59" fmla="*/ 324622 h 458547"/>
                <a:gd name="connsiteX60" fmla="*/ 141203 w 378482"/>
                <a:gd name="connsiteY60" fmla="*/ 336268 h 458547"/>
                <a:gd name="connsiteX61" fmla="*/ 50950 w 378482"/>
                <a:gd name="connsiteY61" fmla="*/ 442534 h 458547"/>
                <a:gd name="connsiteX62" fmla="*/ 46582 w 378482"/>
                <a:gd name="connsiteY62" fmla="*/ 446902 h 458547"/>
                <a:gd name="connsiteX63" fmla="*/ 40760 w 378482"/>
                <a:gd name="connsiteY63" fmla="*/ 451269 h 458547"/>
                <a:gd name="connsiteX64" fmla="*/ 34937 w 378482"/>
                <a:gd name="connsiteY64" fmla="*/ 452724 h 458547"/>
                <a:gd name="connsiteX65" fmla="*/ 27658 w 378482"/>
                <a:gd name="connsiteY65" fmla="*/ 454180 h 458547"/>
                <a:gd name="connsiteX66" fmla="*/ 21836 w 378482"/>
                <a:gd name="connsiteY66" fmla="*/ 454180 h 458547"/>
                <a:gd name="connsiteX67" fmla="*/ 17468 w 378482"/>
                <a:gd name="connsiteY67" fmla="*/ 451269 h 458547"/>
                <a:gd name="connsiteX68" fmla="*/ 13101 w 378482"/>
                <a:gd name="connsiteY68" fmla="*/ 449813 h 458547"/>
                <a:gd name="connsiteX69" fmla="*/ 8734 w 378482"/>
                <a:gd name="connsiteY69" fmla="*/ 445446 h 458547"/>
                <a:gd name="connsiteX70" fmla="*/ 4367 w 378482"/>
                <a:gd name="connsiteY70" fmla="*/ 442534 h 458547"/>
                <a:gd name="connsiteX71" fmla="*/ 2911 w 378482"/>
                <a:gd name="connsiteY71" fmla="*/ 436712 h 458547"/>
                <a:gd name="connsiteX72" fmla="*/ 1456 w 378482"/>
                <a:gd name="connsiteY72" fmla="*/ 432345 h 458547"/>
                <a:gd name="connsiteX73" fmla="*/ 0 w 378482"/>
                <a:gd name="connsiteY73" fmla="*/ 426522 h 458547"/>
                <a:gd name="connsiteX74" fmla="*/ 2911 w 378482"/>
                <a:gd name="connsiteY74" fmla="*/ 414876 h 458547"/>
                <a:gd name="connsiteX75" fmla="*/ 5823 w 378482"/>
                <a:gd name="connsiteY75" fmla="*/ 410509 h 458547"/>
                <a:gd name="connsiteX76" fmla="*/ 84431 w 378482"/>
                <a:gd name="connsiteY76" fmla="*/ 314432 h 458547"/>
                <a:gd name="connsiteX77" fmla="*/ 106266 w 378482"/>
                <a:gd name="connsiteY77" fmla="*/ 190698 h 458547"/>
                <a:gd name="connsiteX78" fmla="*/ 117912 w 378482"/>
                <a:gd name="connsiteY78" fmla="*/ 138292 h 458547"/>
                <a:gd name="connsiteX79" fmla="*/ 127016 w 378482"/>
                <a:gd name="connsiteY79" fmla="*/ 93909 h 458547"/>
                <a:gd name="connsiteX80" fmla="*/ 146852 w 378482"/>
                <a:gd name="connsiteY80" fmla="*/ 16944 h 458547"/>
                <a:gd name="connsiteX81" fmla="*/ 168861 w 378482"/>
                <a:gd name="connsiteY81" fmla="*/ 4367 h 458547"/>
                <a:gd name="connsiteX82" fmla="*/ 171773 w 378482"/>
                <a:gd name="connsiteY82" fmla="*/ 2912 h 458547"/>
                <a:gd name="connsiteX83" fmla="*/ 179051 w 378482"/>
                <a:gd name="connsiteY83" fmla="*/ 1456 h 458547"/>
                <a:gd name="connsiteX84" fmla="*/ 190697 w 378482"/>
                <a:gd name="connsiteY84" fmla="*/ 0 h 458547"/>
                <a:gd name="connsiteX0" fmla="*/ 190697 w 378482"/>
                <a:gd name="connsiteY0" fmla="*/ 0 h 458547"/>
                <a:gd name="connsiteX1" fmla="*/ 196520 w 378482"/>
                <a:gd name="connsiteY1" fmla="*/ 0 h 458547"/>
                <a:gd name="connsiteX2" fmla="*/ 202342 w 378482"/>
                <a:gd name="connsiteY2" fmla="*/ 1456 h 458547"/>
                <a:gd name="connsiteX3" fmla="*/ 215444 w 378482"/>
                <a:gd name="connsiteY3" fmla="*/ 7279 h 458547"/>
                <a:gd name="connsiteX4" fmla="*/ 224178 w 378482"/>
                <a:gd name="connsiteY4" fmla="*/ 13102 h 458547"/>
                <a:gd name="connsiteX5" fmla="*/ 232912 w 378482"/>
                <a:gd name="connsiteY5" fmla="*/ 20380 h 458547"/>
                <a:gd name="connsiteX6" fmla="*/ 237279 w 378482"/>
                <a:gd name="connsiteY6" fmla="*/ 24747 h 458547"/>
                <a:gd name="connsiteX7" fmla="*/ 246013 w 378482"/>
                <a:gd name="connsiteY7" fmla="*/ 42216 h 458547"/>
                <a:gd name="connsiteX8" fmla="*/ 263482 w 378482"/>
                <a:gd name="connsiteY8" fmla="*/ 77153 h 458547"/>
                <a:gd name="connsiteX9" fmla="*/ 288229 w 378482"/>
                <a:gd name="connsiteY9" fmla="*/ 128102 h 458547"/>
                <a:gd name="connsiteX10" fmla="*/ 289684 w 378482"/>
                <a:gd name="connsiteY10" fmla="*/ 129558 h 458547"/>
                <a:gd name="connsiteX11" fmla="*/ 358102 w 378482"/>
                <a:gd name="connsiteY11" fmla="*/ 141204 h 458547"/>
                <a:gd name="connsiteX12" fmla="*/ 365381 w 378482"/>
                <a:gd name="connsiteY12" fmla="*/ 144115 h 458547"/>
                <a:gd name="connsiteX13" fmla="*/ 372659 w 378482"/>
                <a:gd name="connsiteY13" fmla="*/ 148482 h 458547"/>
                <a:gd name="connsiteX14" fmla="*/ 377026 w 378482"/>
                <a:gd name="connsiteY14" fmla="*/ 155761 h 458547"/>
                <a:gd name="connsiteX15" fmla="*/ 378482 w 378482"/>
                <a:gd name="connsiteY15" fmla="*/ 164495 h 458547"/>
                <a:gd name="connsiteX16" fmla="*/ 378482 w 378482"/>
                <a:gd name="connsiteY16" fmla="*/ 170318 h 458547"/>
                <a:gd name="connsiteX17" fmla="*/ 377026 w 378482"/>
                <a:gd name="connsiteY17" fmla="*/ 174685 h 458547"/>
                <a:gd name="connsiteX18" fmla="*/ 375571 w 378482"/>
                <a:gd name="connsiteY18" fmla="*/ 179052 h 458547"/>
                <a:gd name="connsiteX19" fmla="*/ 372659 w 378482"/>
                <a:gd name="connsiteY19" fmla="*/ 181963 h 458547"/>
                <a:gd name="connsiteX20" fmla="*/ 368292 w 378482"/>
                <a:gd name="connsiteY20" fmla="*/ 184875 h 458547"/>
                <a:gd name="connsiteX21" fmla="*/ 363925 w 378482"/>
                <a:gd name="connsiteY21" fmla="*/ 187786 h 458547"/>
                <a:gd name="connsiteX22" fmla="*/ 359558 w 378482"/>
                <a:gd name="connsiteY22" fmla="*/ 187786 h 458547"/>
                <a:gd name="connsiteX23" fmla="*/ 355191 w 378482"/>
                <a:gd name="connsiteY23" fmla="*/ 189242 h 458547"/>
                <a:gd name="connsiteX24" fmla="*/ 352279 w 378482"/>
                <a:gd name="connsiteY24" fmla="*/ 189242 h 458547"/>
                <a:gd name="connsiteX25" fmla="*/ 264937 w 378482"/>
                <a:gd name="connsiteY25" fmla="*/ 171773 h 458547"/>
                <a:gd name="connsiteX26" fmla="*/ 260570 w 378482"/>
                <a:gd name="connsiteY26" fmla="*/ 168862 h 458547"/>
                <a:gd name="connsiteX27" fmla="*/ 256203 w 378482"/>
                <a:gd name="connsiteY27" fmla="*/ 165951 h 458547"/>
                <a:gd name="connsiteX28" fmla="*/ 250380 w 378482"/>
                <a:gd name="connsiteY28" fmla="*/ 158672 h 458547"/>
                <a:gd name="connsiteX29" fmla="*/ 230001 w 378482"/>
                <a:gd name="connsiteY29" fmla="*/ 116457 h 458547"/>
                <a:gd name="connsiteX30" fmla="*/ 215444 w 378482"/>
                <a:gd name="connsiteY30" fmla="*/ 187786 h 458547"/>
                <a:gd name="connsiteX31" fmla="*/ 283862 w 378482"/>
                <a:gd name="connsiteY31" fmla="*/ 262027 h 458547"/>
                <a:gd name="connsiteX32" fmla="*/ 286773 w 378482"/>
                <a:gd name="connsiteY32" fmla="*/ 263483 h 458547"/>
                <a:gd name="connsiteX33" fmla="*/ 289684 w 378482"/>
                <a:gd name="connsiteY33" fmla="*/ 269306 h 458547"/>
                <a:gd name="connsiteX34" fmla="*/ 292596 w 378482"/>
                <a:gd name="connsiteY34" fmla="*/ 278040 h 458547"/>
                <a:gd name="connsiteX35" fmla="*/ 294051 w 378482"/>
                <a:gd name="connsiteY35" fmla="*/ 292597 h 458547"/>
                <a:gd name="connsiteX36" fmla="*/ 294051 w 378482"/>
                <a:gd name="connsiteY36" fmla="*/ 362471 h 458547"/>
                <a:gd name="connsiteX37" fmla="*/ 294051 w 378482"/>
                <a:gd name="connsiteY37" fmla="*/ 429433 h 458547"/>
                <a:gd name="connsiteX38" fmla="*/ 294051 w 378482"/>
                <a:gd name="connsiteY38" fmla="*/ 430889 h 458547"/>
                <a:gd name="connsiteX39" fmla="*/ 294051 w 378482"/>
                <a:gd name="connsiteY39" fmla="*/ 433800 h 458547"/>
                <a:gd name="connsiteX40" fmla="*/ 292596 w 378482"/>
                <a:gd name="connsiteY40" fmla="*/ 438167 h 458547"/>
                <a:gd name="connsiteX41" fmla="*/ 291140 w 378482"/>
                <a:gd name="connsiteY41" fmla="*/ 443990 h 458547"/>
                <a:gd name="connsiteX42" fmla="*/ 288229 w 378482"/>
                <a:gd name="connsiteY42" fmla="*/ 448357 h 458547"/>
                <a:gd name="connsiteX43" fmla="*/ 283862 w 378482"/>
                <a:gd name="connsiteY43" fmla="*/ 451269 h 458547"/>
                <a:gd name="connsiteX44" fmla="*/ 280950 w 378482"/>
                <a:gd name="connsiteY44" fmla="*/ 454180 h 458547"/>
                <a:gd name="connsiteX45" fmla="*/ 276583 w 378482"/>
                <a:gd name="connsiteY45" fmla="*/ 457092 h 458547"/>
                <a:gd name="connsiteX46" fmla="*/ 270760 w 378482"/>
                <a:gd name="connsiteY46" fmla="*/ 458547 h 458547"/>
                <a:gd name="connsiteX47" fmla="*/ 264937 w 378482"/>
                <a:gd name="connsiteY47" fmla="*/ 458547 h 458547"/>
                <a:gd name="connsiteX48" fmla="*/ 260570 w 378482"/>
                <a:gd name="connsiteY48" fmla="*/ 458547 h 458547"/>
                <a:gd name="connsiteX49" fmla="*/ 254748 w 378482"/>
                <a:gd name="connsiteY49" fmla="*/ 457092 h 458547"/>
                <a:gd name="connsiteX50" fmla="*/ 250380 w 378482"/>
                <a:gd name="connsiteY50" fmla="*/ 454180 h 458547"/>
                <a:gd name="connsiteX51" fmla="*/ 247469 w 378482"/>
                <a:gd name="connsiteY51" fmla="*/ 451269 h 458547"/>
                <a:gd name="connsiteX52" fmla="*/ 243102 w 378482"/>
                <a:gd name="connsiteY52" fmla="*/ 448357 h 458547"/>
                <a:gd name="connsiteX53" fmla="*/ 240191 w 378482"/>
                <a:gd name="connsiteY53" fmla="*/ 443990 h 458547"/>
                <a:gd name="connsiteX54" fmla="*/ 238735 w 378482"/>
                <a:gd name="connsiteY54" fmla="*/ 438167 h 458547"/>
                <a:gd name="connsiteX55" fmla="*/ 237279 w 378482"/>
                <a:gd name="connsiteY55" fmla="*/ 433800 h 458547"/>
                <a:gd name="connsiteX56" fmla="*/ 237279 w 378482"/>
                <a:gd name="connsiteY56" fmla="*/ 307154 h 458547"/>
                <a:gd name="connsiteX57" fmla="*/ 165950 w 378482"/>
                <a:gd name="connsiteY57" fmla="*/ 235824 h 458547"/>
                <a:gd name="connsiteX58" fmla="*/ 152849 w 378482"/>
                <a:gd name="connsiteY58" fmla="*/ 315888 h 458547"/>
                <a:gd name="connsiteX59" fmla="*/ 149937 w 378482"/>
                <a:gd name="connsiteY59" fmla="*/ 324622 h 458547"/>
                <a:gd name="connsiteX60" fmla="*/ 141203 w 378482"/>
                <a:gd name="connsiteY60" fmla="*/ 336268 h 458547"/>
                <a:gd name="connsiteX61" fmla="*/ 50950 w 378482"/>
                <a:gd name="connsiteY61" fmla="*/ 442534 h 458547"/>
                <a:gd name="connsiteX62" fmla="*/ 46582 w 378482"/>
                <a:gd name="connsiteY62" fmla="*/ 446902 h 458547"/>
                <a:gd name="connsiteX63" fmla="*/ 40760 w 378482"/>
                <a:gd name="connsiteY63" fmla="*/ 451269 h 458547"/>
                <a:gd name="connsiteX64" fmla="*/ 34937 w 378482"/>
                <a:gd name="connsiteY64" fmla="*/ 452724 h 458547"/>
                <a:gd name="connsiteX65" fmla="*/ 27658 w 378482"/>
                <a:gd name="connsiteY65" fmla="*/ 454180 h 458547"/>
                <a:gd name="connsiteX66" fmla="*/ 21836 w 378482"/>
                <a:gd name="connsiteY66" fmla="*/ 454180 h 458547"/>
                <a:gd name="connsiteX67" fmla="*/ 17468 w 378482"/>
                <a:gd name="connsiteY67" fmla="*/ 451269 h 458547"/>
                <a:gd name="connsiteX68" fmla="*/ 13101 w 378482"/>
                <a:gd name="connsiteY68" fmla="*/ 449813 h 458547"/>
                <a:gd name="connsiteX69" fmla="*/ 8734 w 378482"/>
                <a:gd name="connsiteY69" fmla="*/ 445446 h 458547"/>
                <a:gd name="connsiteX70" fmla="*/ 4367 w 378482"/>
                <a:gd name="connsiteY70" fmla="*/ 442534 h 458547"/>
                <a:gd name="connsiteX71" fmla="*/ 2911 w 378482"/>
                <a:gd name="connsiteY71" fmla="*/ 436712 h 458547"/>
                <a:gd name="connsiteX72" fmla="*/ 0 w 378482"/>
                <a:gd name="connsiteY72" fmla="*/ 426522 h 458547"/>
                <a:gd name="connsiteX73" fmla="*/ 2911 w 378482"/>
                <a:gd name="connsiteY73" fmla="*/ 414876 h 458547"/>
                <a:gd name="connsiteX74" fmla="*/ 5823 w 378482"/>
                <a:gd name="connsiteY74" fmla="*/ 410509 h 458547"/>
                <a:gd name="connsiteX75" fmla="*/ 84431 w 378482"/>
                <a:gd name="connsiteY75" fmla="*/ 314432 h 458547"/>
                <a:gd name="connsiteX76" fmla="*/ 106266 w 378482"/>
                <a:gd name="connsiteY76" fmla="*/ 190698 h 458547"/>
                <a:gd name="connsiteX77" fmla="*/ 117912 w 378482"/>
                <a:gd name="connsiteY77" fmla="*/ 138292 h 458547"/>
                <a:gd name="connsiteX78" fmla="*/ 127016 w 378482"/>
                <a:gd name="connsiteY78" fmla="*/ 93909 h 458547"/>
                <a:gd name="connsiteX79" fmla="*/ 146852 w 378482"/>
                <a:gd name="connsiteY79" fmla="*/ 16944 h 458547"/>
                <a:gd name="connsiteX80" fmla="*/ 168861 w 378482"/>
                <a:gd name="connsiteY80" fmla="*/ 4367 h 458547"/>
                <a:gd name="connsiteX81" fmla="*/ 171773 w 378482"/>
                <a:gd name="connsiteY81" fmla="*/ 2912 h 458547"/>
                <a:gd name="connsiteX82" fmla="*/ 179051 w 378482"/>
                <a:gd name="connsiteY82" fmla="*/ 1456 h 458547"/>
                <a:gd name="connsiteX83" fmla="*/ 190697 w 378482"/>
                <a:gd name="connsiteY83" fmla="*/ 0 h 458547"/>
                <a:gd name="connsiteX0" fmla="*/ 190697 w 378482"/>
                <a:gd name="connsiteY0" fmla="*/ 0 h 458547"/>
                <a:gd name="connsiteX1" fmla="*/ 196520 w 378482"/>
                <a:gd name="connsiteY1" fmla="*/ 0 h 458547"/>
                <a:gd name="connsiteX2" fmla="*/ 202342 w 378482"/>
                <a:gd name="connsiteY2" fmla="*/ 1456 h 458547"/>
                <a:gd name="connsiteX3" fmla="*/ 215444 w 378482"/>
                <a:gd name="connsiteY3" fmla="*/ 7279 h 458547"/>
                <a:gd name="connsiteX4" fmla="*/ 224178 w 378482"/>
                <a:gd name="connsiteY4" fmla="*/ 13102 h 458547"/>
                <a:gd name="connsiteX5" fmla="*/ 232912 w 378482"/>
                <a:gd name="connsiteY5" fmla="*/ 20380 h 458547"/>
                <a:gd name="connsiteX6" fmla="*/ 237279 w 378482"/>
                <a:gd name="connsiteY6" fmla="*/ 24747 h 458547"/>
                <a:gd name="connsiteX7" fmla="*/ 246013 w 378482"/>
                <a:gd name="connsiteY7" fmla="*/ 42216 h 458547"/>
                <a:gd name="connsiteX8" fmla="*/ 263482 w 378482"/>
                <a:gd name="connsiteY8" fmla="*/ 77153 h 458547"/>
                <a:gd name="connsiteX9" fmla="*/ 288229 w 378482"/>
                <a:gd name="connsiteY9" fmla="*/ 128102 h 458547"/>
                <a:gd name="connsiteX10" fmla="*/ 289684 w 378482"/>
                <a:gd name="connsiteY10" fmla="*/ 129558 h 458547"/>
                <a:gd name="connsiteX11" fmla="*/ 358102 w 378482"/>
                <a:gd name="connsiteY11" fmla="*/ 141204 h 458547"/>
                <a:gd name="connsiteX12" fmla="*/ 365381 w 378482"/>
                <a:gd name="connsiteY12" fmla="*/ 144115 h 458547"/>
                <a:gd name="connsiteX13" fmla="*/ 372659 w 378482"/>
                <a:gd name="connsiteY13" fmla="*/ 148482 h 458547"/>
                <a:gd name="connsiteX14" fmla="*/ 377026 w 378482"/>
                <a:gd name="connsiteY14" fmla="*/ 155761 h 458547"/>
                <a:gd name="connsiteX15" fmla="*/ 378482 w 378482"/>
                <a:gd name="connsiteY15" fmla="*/ 164495 h 458547"/>
                <a:gd name="connsiteX16" fmla="*/ 378482 w 378482"/>
                <a:gd name="connsiteY16" fmla="*/ 170318 h 458547"/>
                <a:gd name="connsiteX17" fmla="*/ 377026 w 378482"/>
                <a:gd name="connsiteY17" fmla="*/ 174685 h 458547"/>
                <a:gd name="connsiteX18" fmla="*/ 375571 w 378482"/>
                <a:gd name="connsiteY18" fmla="*/ 179052 h 458547"/>
                <a:gd name="connsiteX19" fmla="*/ 372659 w 378482"/>
                <a:gd name="connsiteY19" fmla="*/ 181963 h 458547"/>
                <a:gd name="connsiteX20" fmla="*/ 368292 w 378482"/>
                <a:gd name="connsiteY20" fmla="*/ 184875 h 458547"/>
                <a:gd name="connsiteX21" fmla="*/ 363925 w 378482"/>
                <a:gd name="connsiteY21" fmla="*/ 187786 h 458547"/>
                <a:gd name="connsiteX22" fmla="*/ 359558 w 378482"/>
                <a:gd name="connsiteY22" fmla="*/ 187786 h 458547"/>
                <a:gd name="connsiteX23" fmla="*/ 355191 w 378482"/>
                <a:gd name="connsiteY23" fmla="*/ 189242 h 458547"/>
                <a:gd name="connsiteX24" fmla="*/ 352279 w 378482"/>
                <a:gd name="connsiteY24" fmla="*/ 189242 h 458547"/>
                <a:gd name="connsiteX25" fmla="*/ 264937 w 378482"/>
                <a:gd name="connsiteY25" fmla="*/ 171773 h 458547"/>
                <a:gd name="connsiteX26" fmla="*/ 260570 w 378482"/>
                <a:gd name="connsiteY26" fmla="*/ 168862 h 458547"/>
                <a:gd name="connsiteX27" fmla="*/ 256203 w 378482"/>
                <a:gd name="connsiteY27" fmla="*/ 165951 h 458547"/>
                <a:gd name="connsiteX28" fmla="*/ 250380 w 378482"/>
                <a:gd name="connsiteY28" fmla="*/ 158672 h 458547"/>
                <a:gd name="connsiteX29" fmla="*/ 230001 w 378482"/>
                <a:gd name="connsiteY29" fmla="*/ 116457 h 458547"/>
                <a:gd name="connsiteX30" fmla="*/ 215444 w 378482"/>
                <a:gd name="connsiteY30" fmla="*/ 187786 h 458547"/>
                <a:gd name="connsiteX31" fmla="*/ 283862 w 378482"/>
                <a:gd name="connsiteY31" fmla="*/ 262027 h 458547"/>
                <a:gd name="connsiteX32" fmla="*/ 286773 w 378482"/>
                <a:gd name="connsiteY32" fmla="*/ 263483 h 458547"/>
                <a:gd name="connsiteX33" fmla="*/ 289684 w 378482"/>
                <a:gd name="connsiteY33" fmla="*/ 269306 h 458547"/>
                <a:gd name="connsiteX34" fmla="*/ 292596 w 378482"/>
                <a:gd name="connsiteY34" fmla="*/ 278040 h 458547"/>
                <a:gd name="connsiteX35" fmla="*/ 294051 w 378482"/>
                <a:gd name="connsiteY35" fmla="*/ 292597 h 458547"/>
                <a:gd name="connsiteX36" fmla="*/ 294051 w 378482"/>
                <a:gd name="connsiteY36" fmla="*/ 362471 h 458547"/>
                <a:gd name="connsiteX37" fmla="*/ 294051 w 378482"/>
                <a:gd name="connsiteY37" fmla="*/ 429433 h 458547"/>
                <a:gd name="connsiteX38" fmla="*/ 294051 w 378482"/>
                <a:gd name="connsiteY38" fmla="*/ 430889 h 458547"/>
                <a:gd name="connsiteX39" fmla="*/ 294051 w 378482"/>
                <a:gd name="connsiteY39" fmla="*/ 433800 h 458547"/>
                <a:gd name="connsiteX40" fmla="*/ 292596 w 378482"/>
                <a:gd name="connsiteY40" fmla="*/ 438167 h 458547"/>
                <a:gd name="connsiteX41" fmla="*/ 291140 w 378482"/>
                <a:gd name="connsiteY41" fmla="*/ 443990 h 458547"/>
                <a:gd name="connsiteX42" fmla="*/ 288229 w 378482"/>
                <a:gd name="connsiteY42" fmla="*/ 448357 h 458547"/>
                <a:gd name="connsiteX43" fmla="*/ 283862 w 378482"/>
                <a:gd name="connsiteY43" fmla="*/ 451269 h 458547"/>
                <a:gd name="connsiteX44" fmla="*/ 280950 w 378482"/>
                <a:gd name="connsiteY44" fmla="*/ 454180 h 458547"/>
                <a:gd name="connsiteX45" fmla="*/ 276583 w 378482"/>
                <a:gd name="connsiteY45" fmla="*/ 457092 h 458547"/>
                <a:gd name="connsiteX46" fmla="*/ 270760 w 378482"/>
                <a:gd name="connsiteY46" fmla="*/ 458547 h 458547"/>
                <a:gd name="connsiteX47" fmla="*/ 264937 w 378482"/>
                <a:gd name="connsiteY47" fmla="*/ 458547 h 458547"/>
                <a:gd name="connsiteX48" fmla="*/ 260570 w 378482"/>
                <a:gd name="connsiteY48" fmla="*/ 458547 h 458547"/>
                <a:gd name="connsiteX49" fmla="*/ 254748 w 378482"/>
                <a:gd name="connsiteY49" fmla="*/ 457092 h 458547"/>
                <a:gd name="connsiteX50" fmla="*/ 250380 w 378482"/>
                <a:gd name="connsiteY50" fmla="*/ 454180 h 458547"/>
                <a:gd name="connsiteX51" fmla="*/ 247469 w 378482"/>
                <a:gd name="connsiteY51" fmla="*/ 451269 h 458547"/>
                <a:gd name="connsiteX52" fmla="*/ 243102 w 378482"/>
                <a:gd name="connsiteY52" fmla="*/ 448357 h 458547"/>
                <a:gd name="connsiteX53" fmla="*/ 240191 w 378482"/>
                <a:gd name="connsiteY53" fmla="*/ 443990 h 458547"/>
                <a:gd name="connsiteX54" fmla="*/ 238735 w 378482"/>
                <a:gd name="connsiteY54" fmla="*/ 438167 h 458547"/>
                <a:gd name="connsiteX55" fmla="*/ 237279 w 378482"/>
                <a:gd name="connsiteY55" fmla="*/ 433800 h 458547"/>
                <a:gd name="connsiteX56" fmla="*/ 237279 w 378482"/>
                <a:gd name="connsiteY56" fmla="*/ 307154 h 458547"/>
                <a:gd name="connsiteX57" fmla="*/ 165950 w 378482"/>
                <a:gd name="connsiteY57" fmla="*/ 235824 h 458547"/>
                <a:gd name="connsiteX58" fmla="*/ 152849 w 378482"/>
                <a:gd name="connsiteY58" fmla="*/ 315888 h 458547"/>
                <a:gd name="connsiteX59" fmla="*/ 149937 w 378482"/>
                <a:gd name="connsiteY59" fmla="*/ 324622 h 458547"/>
                <a:gd name="connsiteX60" fmla="*/ 141203 w 378482"/>
                <a:gd name="connsiteY60" fmla="*/ 336268 h 458547"/>
                <a:gd name="connsiteX61" fmla="*/ 50950 w 378482"/>
                <a:gd name="connsiteY61" fmla="*/ 442534 h 458547"/>
                <a:gd name="connsiteX62" fmla="*/ 46582 w 378482"/>
                <a:gd name="connsiteY62" fmla="*/ 446902 h 458547"/>
                <a:gd name="connsiteX63" fmla="*/ 40760 w 378482"/>
                <a:gd name="connsiteY63" fmla="*/ 451269 h 458547"/>
                <a:gd name="connsiteX64" fmla="*/ 34937 w 378482"/>
                <a:gd name="connsiteY64" fmla="*/ 452724 h 458547"/>
                <a:gd name="connsiteX65" fmla="*/ 27658 w 378482"/>
                <a:gd name="connsiteY65" fmla="*/ 454180 h 458547"/>
                <a:gd name="connsiteX66" fmla="*/ 21836 w 378482"/>
                <a:gd name="connsiteY66" fmla="*/ 454180 h 458547"/>
                <a:gd name="connsiteX67" fmla="*/ 17468 w 378482"/>
                <a:gd name="connsiteY67" fmla="*/ 451269 h 458547"/>
                <a:gd name="connsiteX68" fmla="*/ 13101 w 378482"/>
                <a:gd name="connsiteY68" fmla="*/ 449813 h 458547"/>
                <a:gd name="connsiteX69" fmla="*/ 4367 w 378482"/>
                <a:gd name="connsiteY69" fmla="*/ 442534 h 458547"/>
                <a:gd name="connsiteX70" fmla="*/ 2911 w 378482"/>
                <a:gd name="connsiteY70" fmla="*/ 436712 h 458547"/>
                <a:gd name="connsiteX71" fmla="*/ 0 w 378482"/>
                <a:gd name="connsiteY71" fmla="*/ 426522 h 458547"/>
                <a:gd name="connsiteX72" fmla="*/ 2911 w 378482"/>
                <a:gd name="connsiteY72" fmla="*/ 414876 h 458547"/>
                <a:gd name="connsiteX73" fmla="*/ 5823 w 378482"/>
                <a:gd name="connsiteY73" fmla="*/ 410509 h 458547"/>
                <a:gd name="connsiteX74" fmla="*/ 84431 w 378482"/>
                <a:gd name="connsiteY74" fmla="*/ 314432 h 458547"/>
                <a:gd name="connsiteX75" fmla="*/ 106266 w 378482"/>
                <a:gd name="connsiteY75" fmla="*/ 190698 h 458547"/>
                <a:gd name="connsiteX76" fmla="*/ 117912 w 378482"/>
                <a:gd name="connsiteY76" fmla="*/ 138292 h 458547"/>
                <a:gd name="connsiteX77" fmla="*/ 127016 w 378482"/>
                <a:gd name="connsiteY77" fmla="*/ 93909 h 458547"/>
                <a:gd name="connsiteX78" fmla="*/ 146852 w 378482"/>
                <a:gd name="connsiteY78" fmla="*/ 16944 h 458547"/>
                <a:gd name="connsiteX79" fmla="*/ 168861 w 378482"/>
                <a:gd name="connsiteY79" fmla="*/ 4367 h 458547"/>
                <a:gd name="connsiteX80" fmla="*/ 171773 w 378482"/>
                <a:gd name="connsiteY80" fmla="*/ 2912 h 458547"/>
                <a:gd name="connsiteX81" fmla="*/ 179051 w 378482"/>
                <a:gd name="connsiteY81" fmla="*/ 1456 h 458547"/>
                <a:gd name="connsiteX82" fmla="*/ 190697 w 378482"/>
                <a:gd name="connsiteY82" fmla="*/ 0 h 458547"/>
                <a:gd name="connsiteX0" fmla="*/ 190697 w 378482"/>
                <a:gd name="connsiteY0" fmla="*/ 0 h 458547"/>
                <a:gd name="connsiteX1" fmla="*/ 196520 w 378482"/>
                <a:gd name="connsiteY1" fmla="*/ 0 h 458547"/>
                <a:gd name="connsiteX2" fmla="*/ 202342 w 378482"/>
                <a:gd name="connsiteY2" fmla="*/ 1456 h 458547"/>
                <a:gd name="connsiteX3" fmla="*/ 215444 w 378482"/>
                <a:gd name="connsiteY3" fmla="*/ 7279 h 458547"/>
                <a:gd name="connsiteX4" fmla="*/ 224178 w 378482"/>
                <a:gd name="connsiteY4" fmla="*/ 13102 h 458547"/>
                <a:gd name="connsiteX5" fmla="*/ 232912 w 378482"/>
                <a:gd name="connsiteY5" fmla="*/ 20380 h 458547"/>
                <a:gd name="connsiteX6" fmla="*/ 237279 w 378482"/>
                <a:gd name="connsiteY6" fmla="*/ 24747 h 458547"/>
                <a:gd name="connsiteX7" fmla="*/ 246013 w 378482"/>
                <a:gd name="connsiteY7" fmla="*/ 42216 h 458547"/>
                <a:gd name="connsiteX8" fmla="*/ 263482 w 378482"/>
                <a:gd name="connsiteY8" fmla="*/ 77153 h 458547"/>
                <a:gd name="connsiteX9" fmla="*/ 288229 w 378482"/>
                <a:gd name="connsiteY9" fmla="*/ 128102 h 458547"/>
                <a:gd name="connsiteX10" fmla="*/ 289684 w 378482"/>
                <a:gd name="connsiteY10" fmla="*/ 129558 h 458547"/>
                <a:gd name="connsiteX11" fmla="*/ 358102 w 378482"/>
                <a:gd name="connsiteY11" fmla="*/ 141204 h 458547"/>
                <a:gd name="connsiteX12" fmla="*/ 365381 w 378482"/>
                <a:gd name="connsiteY12" fmla="*/ 144115 h 458547"/>
                <a:gd name="connsiteX13" fmla="*/ 372659 w 378482"/>
                <a:gd name="connsiteY13" fmla="*/ 148482 h 458547"/>
                <a:gd name="connsiteX14" fmla="*/ 377026 w 378482"/>
                <a:gd name="connsiteY14" fmla="*/ 155761 h 458547"/>
                <a:gd name="connsiteX15" fmla="*/ 378482 w 378482"/>
                <a:gd name="connsiteY15" fmla="*/ 164495 h 458547"/>
                <a:gd name="connsiteX16" fmla="*/ 378482 w 378482"/>
                <a:gd name="connsiteY16" fmla="*/ 170318 h 458547"/>
                <a:gd name="connsiteX17" fmla="*/ 377026 w 378482"/>
                <a:gd name="connsiteY17" fmla="*/ 174685 h 458547"/>
                <a:gd name="connsiteX18" fmla="*/ 375571 w 378482"/>
                <a:gd name="connsiteY18" fmla="*/ 179052 h 458547"/>
                <a:gd name="connsiteX19" fmla="*/ 372659 w 378482"/>
                <a:gd name="connsiteY19" fmla="*/ 181963 h 458547"/>
                <a:gd name="connsiteX20" fmla="*/ 368292 w 378482"/>
                <a:gd name="connsiteY20" fmla="*/ 184875 h 458547"/>
                <a:gd name="connsiteX21" fmla="*/ 363925 w 378482"/>
                <a:gd name="connsiteY21" fmla="*/ 187786 h 458547"/>
                <a:gd name="connsiteX22" fmla="*/ 359558 w 378482"/>
                <a:gd name="connsiteY22" fmla="*/ 187786 h 458547"/>
                <a:gd name="connsiteX23" fmla="*/ 355191 w 378482"/>
                <a:gd name="connsiteY23" fmla="*/ 189242 h 458547"/>
                <a:gd name="connsiteX24" fmla="*/ 352279 w 378482"/>
                <a:gd name="connsiteY24" fmla="*/ 189242 h 458547"/>
                <a:gd name="connsiteX25" fmla="*/ 264937 w 378482"/>
                <a:gd name="connsiteY25" fmla="*/ 171773 h 458547"/>
                <a:gd name="connsiteX26" fmla="*/ 260570 w 378482"/>
                <a:gd name="connsiteY26" fmla="*/ 168862 h 458547"/>
                <a:gd name="connsiteX27" fmla="*/ 256203 w 378482"/>
                <a:gd name="connsiteY27" fmla="*/ 165951 h 458547"/>
                <a:gd name="connsiteX28" fmla="*/ 250380 w 378482"/>
                <a:gd name="connsiteY28" fmla="*/ 158672 h 458547"/>
                <a:gd name="connsiteX29" fmla="*/ 230001 w 378482"/>
                <a:gd name="connsiteY29" fmla="*/ 116457 h 458547"/>
                <a:gd name="connsiteX30" fmla="*/ 215444 w 378482"/>
                <a:gd name="connsiteY30" fmla="*/ 187786 h 458547"/>
                <a:gd name="connsiteX31" fmla="*/ 283862 w 378482"/>
                <a:gd name="connsiteY31" fmla="*/ 262027 h 458547"/>
                <a:gd name="connsiteX32" fmla="*/ 286773 w 378482"/>
                <a:gd name="connsiteY32" fmla="*/ 263483 h 458547"/>
                <a:gd name="connsiteX33" fmla="*/ 289684 w 378482"/>
                <a:gd name="connsiteY33" fmla="*/ 269306 h 458547"/>
                <a:gd name="connsiteX34" fmla="*/ 292596 w 378482"/>
                <a:gd name="connsiteY34" fmla="*/ 278040 h 458547"/>
                <a:gd name="connsiteX35" fmla="*/ 294051 w 378482"/>
                <a:gd name="connsiteY35" fmla="*/ 292597 h 458547"/>
                <a:gd name="connsiteX36" fmla="*/ 294051 w 378482"/>
                <a:gd name="connsiteY36" fmla="*/ 362471 h 458547"/>
                <a:gd name="connsiteX37" fmla="*/ 294051 w 378482"/>
                <a:gd name="connsiteY37" fmla="*/ 429433 h 458547"/>
                <a:gd name="connsiteX38" fmla="*/ 294051 w 378482"/>
                <a:gd name="connsiteY38" fmla="*/ 430889 h 458547"/>
                <a:gd name="connsiteX39" fmla="*/ 294051 w 378482"/>
                <a:gd name="connsiteY39" fmla="*/ 433800 h 458547"/>
                <a:gd name="connsiteX40" fmla="*/ 292596 w 378482"/>
                <a:gd name="connsiteY40" fmla="*/ 438167 h 458547"/>
                <a:gd name="connsiteX41" fmla="*/ 291140 w 378482"/>
                <a:gd name="connsiteY41" fmla="*/ 443990 h 458547"/>
                <a:gd name="connsiteX42" fmla="*/ 288229 w 378482"/>
                <a:gd name="connsiteY42" fmla="*/ 448357 h 458547"/>
                <a:gd name="connsiteX43" fmla="*/ 283862 w 378482"/>
                <a:gd name="connsiteY43" fmla="*/ 451269 h 458547"/>
                <a:gd name="connsiteX44" fmla="*/ 280950 w 378482"/>
                <a:gd name="connsiteY44" fmla="*/ 454180 h 458547"/>
                <a:gd name="connsiteX45" fmla="*/ 276583 w 378482"/>
                <a:gd name="connsiteY45" fmla="*/ 457092 h 458547"/>
                <a:gd name="connsiteX46" fmla="*/ 270760 w 378482"/>
                <a:gd name="connsiteY46" fmla="*/ 458547 h 458547"/>
                <a:gd name="connsiteX47" fmla="*/ 264937 w 378482"/>
                <a:gd name="connsiteY47" fmla="*/ 458547 h 458547"/>
                <a:gd name="connsiteX48" fmla="*/ 260570 w 378482"/>
                <a:gd name="connsiteY48" fmla="*/ 458547 h 458547"/>
                <a:gd name="connsiteX49" fmla="*/ 254748 w 378482"/>
                <a:gd name="connsiteY49" fmla="*/ 457092 h 458547"/>
                <a:gd name="connsiteX50" fmla="*/ 250380 w 378482"/>
                <a:gd name="connsiteY50" fmla="*/ 454180 h 458547"/>
                <a:gd name="connsiteX51" fmla="*/ 247469 w 378482"/>
                <a:gd name="connsiteY51" fmla="*/ 451269 h 458547"/>
                <a:gd name="connsiteX52" fmla="*/ 243102 w 378482"/>
                <a:gd name="connsiteY52" fmla="*/ 448357 h 458547"/>
                <a:gd name="connsiteX53" fmla="*/ 240191 w 378482"/>
                <a:gd name="connsiteY53" fmla="*/ 443990 h 458547"/>
                <a:gd name="connsiteX54" fmla="*/ 238735 w 378482"/>
                <a:gd name="connsiteY54" fmla="*/ 438167 h 458547"/>
                <a:gd name="connsiteX55" fmla="*/ 237279 w 378482"/>
                <a:gd name="connsiteY55" fmla="*/ 433800 h 458547"/>
                <a:gd name="connsiteX56" fmla="*/ 237279 w 378482"/>
                <a:gd name="connsiteY56" fmla="*/ 307154 h 458547"/>
                <a:gd name="connsiteX57" fmla="*/ 165950 w 378482"/>
                <a:gd name="connsiteY57" fmla="*/ 235824 h 458547"/>
                <a:gd name="connsiteX58" fmla="*/ 152849 w 378482"/>
                <a:gd name="connsiteY58" fmla="*/ 315888 h 458547"/>
                <a:gd name="connsiteX59" fmla="*/ 149937 w 378482"/>
                <a:gd name="connsiteY59" fmla="*/ 324622 h 458547"/>
                <a:gd name="connsiteX60" fmla="*/ 141203 w 378482"/>
                <a:gd name="connsiteY60" fmla="*/ 336268 h 458547"/>
                <a:gd name="connsiteX61" fmla="*/ 46582 w 378482"/>
                <a:gd name="connsiteY61" fmla="*/ 446902 h 458547"/>
                <a:gd name="connsiteX62" fmla="*/ 40760 w 378482"/>
                <a:gd name="connsiteY62" fmla="*/ 451269 h 458547"/>
                <a:gd name="connsiteX63" fmla="*/ 34937 w 378482"/>
                <a:gd name="connsiteY63" fmla="*/ 452724 h 458547"/>
                <a:gd name="connsiteX64" fmla="*/ 27658 w 378482"/>
                <a:gd name="connsiteY64" fmla="*/ 454180 h 458547"/>
                <a:gd name="connsiteX65" fmla="*/ 21836 w 378482"/>
                <a:gd name="connsiteY65" fmla="*/ 454180 h 458547"/>
                <a:gd name="connsiteX66" fmla="*/ 17468 w 378482"/>
                <a:gd name="connsiteY66" fmla="*/ 451269 h 458547"/>
                <a:gd name="connsiteX67" fmla="*/ 13101 w 378482"/>
                <a:gd name="connsiteY67" fmla="*/ 449813 h 458547"/>
                <a:gd name="connsiteX68" fmla="*/ 4367 w 378482"/>
                <a:gd name="connsiteY68" fmla="*/ 442534 h 458547"/>
                <a:gd name="connsiteX69" fmla="*/ 2911 w 378482"/>
                <a:gd name="connsiteY69" fmla="*/ 436712 h 458547"/>
                <a:gd name="connsiteX70" fmla="*/ 0 w 378482"/>
                <a:gd name="connsiteY70" fmla="*/ 426522 h 458547"/>
                <a:gd name="connsiteX71" fmla="*/ 2911 w 378482"/>
                <a:gd name="connsiteY71" fmla="*/ 414876 h 458547"/>
                <a:gd name="connsiteX72" fmla="*/ 5823 w 378482"/>
                <a:gd name="connsiteY72" fmla="*/ 410509 h 458547"/>
                <a:gd name="connsiteX73" fmla="*/ 84431 w 378482"/>
                <a:gd name="connsiteY73" fmla="*/ 314432 h 458547"/>
                <a:gd name="connsiteX74" fmla="*/ 106266 w 378482"/>
                <a:gd name="connsiteY74" fmla="*/ 190698 h 458547"/>
                <a:gd name="connsiteX75" fmla="*/ 117912 w 378482"/>
                <a:gd name="connsiteY75" fmla="*/ 138292 h 458547"/>
                <a:gd name="connsiteX76" fmla="*/ 127016 w 378482"/>
                <a:gd name="connsiteY76" fmla="*/ 93909 h 458547"/>
                <a:gd name="connsiteX77" fmla="*/ 146852 w 378482"/>
                <a:gd name="connsiteY77" fmla="*/ 16944 h 458547"/>
                <a:gd name="connsiteX78" fmla="*/ 168861 w 378482"/>
                <a:gd name="connsiteY78" fmla="*/ 4367 h 458547"/>
                <a:gd name="connsiteX79" fmla="*/ 171773 w 378482"/>
                <a:gd name="connsiteY79" fmla="*/ 2912 h 458547"/>
                <a:gd name="connsiteX80" fmla="*/ 179051 w 378482"/>
                <a:gd name="connsiteY80" fmla="*/ 1456 h 458547"/>
                <a:gd name="connsiteX81" fmla="*/ 190697 w 378482"/>
                <a:gd name="connsiteY81" fmla="*/ 0 h 458547"/>
                <a:gd name="connsiteX0" fmla="*/ 190697 w 378482"/>
                <a:gd name="connsiteY0" fmla="*/ 0 h 458547"/>
                <a:gd name="connsiteX1" fmla="*/ 196520 w 378482"/>
                <a:gd name="connsiteY1" fmla="*/ 0 h 458547"/>
                <a:gd name="connsiteX2" fmla="*/ 202342 w 378482"/>
                <a:gd name="connsiteY2" fmla="*/ 1456 h 458547"/>
                <a:gd name="connsiteX3" fmla="*/ 215444 w 378482"/>
                <a:gd name="connsiteY3" fmla="*/ 7279 h 458547"/>
                <a:gd name="connsiteX4" fmla="*/ 224178 w 378482"/>
                <a:gd name="connsiteY4" fmla="*/ 13102 h 458547"/>
                <a:gd name="connsiteX5" fmla="*/ 232912 w 378482"/>
                <a:gd name="connsiteY5" fmla="*/ 20380 h 458547"/>
                <a:gd name="connsiteX6" fmla="*/ 237279 w 378482"/>
                <a:gd name="connsiteY6" fmla="*/ 24747 h 458547"/>
                <a:gd name="connsiteX7" fmla="*/ 246013 w 378482"/>
                <a:gd name="connsiteY7" fmla="*/ 42216 h 458547"/>
                <a:gd name="connsiteX8" fmla="*/ 263482 w 378482"/>
                <a:gd name="connsiteY8" fmla="*/ 77153 h 458547"/>
                <a:gd name="connsiteX9" fmla="*/ 288229 w 378482"/>
                <a:gd name="connsiteY9" fmla="*/ 128102 h 458547"/>
                <a:gd name="connsiteX10" fmla="*/ 289684 w 378482"/>
                <a:gd name="connsiteY10" fmla="*/ 129558 h 458547"/>
                <a:gd name="connsiteX11" fmla="*/ 358102 w 378482"/>
                <a:gd name="connsiteY11" fmla="*/ 141204 h 458547"/>
                <a:gd name="connsiteX12" fmla="*/ 365381 w 378482"/>
                <a:gd name="connsiteY12" fmla="*/ 144115 h 458547"/>
                <a:gd name="connsiteX13" fmla="*/ 372659 w 378482"/>
                <a:gd name="connsiteY13" fmla="*/ 148482 h 458547"/>
                <a:gd name="connsiteX14" fmla="*/ 377026 w 378482"/>
                <a:gd name="connsiteY14" fmla="*/ 155761 h 458547"/>
                <a:gd name="connsiteX15" fmla="*/ 378482 w 378482"/>
                <a:gd name="connsiteY15" fmla="*/ 164495 h 458547"/>
                <a:gd name="connsiteX16" fmla="*/ 378482 w 378482"/>
                <a:gd name="connsiteY16" fmla="*/ 170318 h 458547"/>
                <a:gd name="connsiteX17" fmla="*/ 377026 w 378482"/>
                <a:gd name="connsiteY17" fmla="*/ 174685 h 458547"/>
                <a:gd name="connsiteX18" fmla="*/ 375571 w 378482"/>
                <a:gd name="connsiteY18" fmla="*/ 179052 h 458547"/>
                <a:gd name="connsiteX19" fmla="*/ 372659 w 378482"/>
                <a:gd name="connsiteY19" fmla="*/ 181963 h 458547"/>
                <a:gd name="connsiteX20" fmla="*/ 368292 w 378482"/>
                <a:gd name="connsiteY20" fmla="*/ 184875 h 458547"/>
                <a:gd name="connsiteX21" fmla="*/ 363925 w 378482"/>
                <a:gd name="connsiteY21" fmla="*/ 187786 h 458547"/>
                <a:gd name="connsiteX22" fmla="*/ 359558 w 378482"/>
                <a:gd name="connsiteY22" fmla="*/ 187786 h 458547"/>
                <a:gd name="connsiteX23" fmla="*/ 355191 w 378482"/>
                <a:gd name="connsiteY23" fmla="*/ 189242 h 458547"/>
                <a:gd name="connsiteX24" fmla="*/ 352279 w 378482"/>
                <a:gd name="connsiteY24" fmla="*/ 189242 h 458547"/>
                <a:gd name="connsiteX25" fmla="*/ 264937 w 378482"/>
                <a:gd name="connsiteY25" fmla="*/ 171773 h 458547"/>
                <a:gd name="connsiteX26" fmla="*/ 260570 w 378482"/>
                <a:gd name="connsiteY26" fmla="*/ 168862 h 458547"/>
                <a:gd name="connsiteX27" fmla="*/ 256203 w 378482"/>
                <a:gd name="connsiteY27" fmla="*/ 165951 h 458547"/>
                <a:gd name="connsiteX28" fmla="*/ 250380 w 378482"/>
                <a:gd name="connsiteY28" fmla="*/ 158672 h 458547"/>
                <a:gd name="connsiteX29" fmla="*/ 230001 w 378482"/>
                <a:gd name="connsiteY29" fmla="*/ 116457 h 458547"/>
                <a:gd name="connsiteX30" fmla="*/ 215444 w 378482"/>
                <a:gd name="connsiteY30" fmla="*/ 187786 h 458547"/>
                <a:gd name="connsiteX31" fmla="*/ 283862 w 378482"/>
                <a:gd name="connsiteY31" fmla="*/ 262027 h 458547"/>
                <a:gd name="connsiteX32" fmla="*/ 286773 w 378482"/>
                <a:gd name="connsiteY32" fmla="*/ 263483 h 458547"/>
                <a:gd name="connsiteX33" fmla="*/ 289684 w 378482"/>
                <a:gd name="connsiteY33" fmla="*/ 269306 h 458547"/>
                <a:gd name="connsiteX34" fmla="*/ 292596 w 378482"/>
                <a:gd name="connsiteY34" fmla="*/ 278040 h 458547"/>
                <a:gd name="connsiteX35" fmla="*/ 294051 w 378482"/>
                <a:gd name="connsiteY35" fmla="*/ 292597 h 458547"/>
                <a:gd name="connsiteX36" fmla="*/ 294051 w 378482"/>
                <a:gd name="connsiteY36" fmla="*/ 362471 h 458547"/>
                <a:gd name="connsiteX37" fmla="*/ 294051 w 378482"/>
                <a:gd name="connsiteY37" fmla="*/ 429433 h 458547"/>
                <a:gd name="connsiteX38" fmla="*/ 294051 w 378482"/>
                <a:gd name="connsiteY38" fmla="*/ 430889 h 458547"/>
                <a:gd name="connsiteX39" fmla="*/ 294051 w 378482"/>
                <a:gd name="connsiteY39" fmla="*/ 433800 h 458547"/>
                <a:gd name="connsiteX40" fmla="*/ 292596 w 378482"/>
                <a:gd name="connsiteY40" fmla="*/ 438167 h 458547"/>
                <a:gd name="connsiteX41" fmla="*/ 291140 w 378482"/>
                <a:gd name="connsiteY41" fmla="*/ 443990 h 458547"/>
                <a:gd name="connsiteX42" fmla="*/ 288229 w 378482"/>
                <a:gd name="connsiteY42" fmla="*/ 448357 h 458547"/>
                <a:gd name="connsiteX43" fmla="*/ 283862 w 378482"/>
                <a:gd name="connsiteY43" fmla="*/ 451269 h 458547"/>
                <a:gd name="connsiteX44" fmla="*/ 280950 w 378482"/>
                <a:gd name="connsiteY44" fmla="*/ 454180 h 458547"/>
                <a:gd name="connsiteX45" fmla="*/ 276583 w 378482"/>
                <a:gd name="connsiteY45" fmla="*/ 457092 h 458547"/>
                <a:gd name="connsiteX46" fmla="*/ 270760 w 378482"/>
                <a:gd name="connsiteY46" fmla="*/ 458547 h 458547"/>
                <a:gd name="connsiteX47" fmla="*/ 264937 w 378482"/>
                <a:gd name="connsiteY47" fmla="*/ 458547 h 458547"/>
                <a:gd name="connsiteX48" fmla="*/ 260570 w 378482"/>
                <a:gd name="connsiteY48" fmla="*/ 458547 h 458547"/>
                <a:gd name="connsiteX49" fmla="*/ 254748 w 378482"/>
                <a:gd name="connsiteY49" fmla="*/ 457092 h 458547"/>
                <a:gd name="connsiteX50" fmla="*/ 250380 w 378482"/>
                <a:gd name="connsiteY50" fmla="*/ 454180 h 458547"/>
                <a:gd name="connsiteX51" fmla="*/ 247469 w 378482"/>
                <a:gd name="connsiteY51" fmla="*/ 451269 h 458547"/>
                <a:gd name="connsiteX52" fmla="*/ 243102 w 378482"/>
                <a:gd name="connsiteY52" fmla="*/ 448357 h 458547"/>
                <a:gd name="connsiteX53" fmla="*/ 240191 w 378482"/>
                <a:gd name="connsiteY53" fmla="*/ 443990 h 458547"/>
                <a:gd name="connsiteX54" fmla="*/ 238735 w 378482"/>
                <a:gd name="connsiteY54" fmla="*/ 438167 h 458547"/>
                <a:gd name="connsiteX55" fmla="*/ 237279 w 378482"/>
                <a:gd name="connsiteY55" fmla="*/ 433800 h 458547"/>
                <a:gd name="connsiteX56" fmla="*/ 237279 w 378482"/>
                <a:gd name="connsiteY56" fmla="*/ 307154 h 458547"/>
                <a:gd name="connsiteX57" fmla="*/ 165950 w 378482"/>
                <a:gd name="connsiteY57" fmla="*/ 235824 h 458547"/>
                <a:gd name="connsiteX58" fmla="*/ 152849 w 378482"/>
                <a:gd name="connsiteY58" fmla="*/ 315888 h 458547"/>
                <a:gd name="connsiteX59" fmla="*/ 149937 w 378482"/>
                <a:gd name="connsiteY59" fmla="*/ 324622 h 458547"/>
                <a:gd name="connsiteX60" fmla="*/ 141203 w 378482"/>
                <a:gd name="connsiteY60" fmla="*/ 336268 h 458547"/>
                <a:gd name="connsiteX61" fmla="*/ 40760 w 378482"/>
                <a:gd name="connsiteY61" fmla="*/ 451269 h 458547"/>
                <a:gd name="connsiteX62" fmla="*/ 34937 w 378482"/>
                <a:gd name="connsiteY62" fmla="*/ 452724 h 458547"/>
                <a:gd name="connsiteX63" fmla="*/ 27658 w 378482"/>
                <a:gd name="connsiteY63" fmla="*/ 454180 h 458547"/>
                <a:gd name="connsiteX64" fmla="*/ 21836 w 378482"/>
                <a:gd name="connsiteY64" fmla="*/ 454180 h 458547"/>
                <a:gd name="connsiteX65" fmla="*/ 17468 w 378482"/>
                <a:gd name="connsiteY65" fmla="*/ 451269 h 458547"/>
                <a:gd name="connsiteX66" fmla="*/ 13101 w 378482"/>
                <a:gd name="connsiteY66" fmla="*/ 449813 h 458547"/>
                <a:gd name="connsiteX67" fmla="*/ 4367 w 378482"/>
                <a:gd name="connsiteY67" fmla="*/ 442534 h 458547"/>
                <a:gd name="connsiteX68" fmla="*/ 2911 w 378482"/>
                <a:gd name="connsiteY68" fmla="*/ 436712 h 458547"/>
                <a:gd name="connsiteX69" fmla="*/ 0 w 378482"/>
                <a:gd name="connsiteY69" fmla="*/ 426522 h 458547"/>
                <a:gd name="connsiteX70" fmla="*/ 2911 w 378482"/>
                <a:gd name="connsiteY70" fmla="*/ 414876 h 458547"/>
                <a:gd name="connsiteX71" fmla="*/ 5823 w 378482"/>
                <a:gd name="connsiteY71" fmla="*/ 410509 h 458547"/>
                <a:gd name="connsiteX72" fmla="*/ 84431 w 378482"/>
                <a:gd name="connsiteY72" fmla="*/ 314432 h 458547"/>
                <a:gd name="connsiteX73" fmla="*/ 106266 w 378482"/>
                <a:gd name="connsiteY73" fmla="*/ 190698 h 458547"/>
                <a:gd name="connsiteX74" fmla="*/ 117912 w 378482"/>
                <a:gd name="connsiteY74" fmla="*/ 138292 h 458547"/>
                <a:gd name="connsiteX75" fmla="*/ 127016 w 378482"/>
                <a:gd name="connsiteY75" fmla="*/ 93909 h 458547"/>
                <a:gd name="connsiteX76" fmla="*/ 146852 w 378482"/>
                <a:gd name="connsiteY76" fmla="*/ 16944 h 458547"/>
                <a:gd name="connsiteX77" fmla="*/ 168861 w 378482"/>
                <a:gd name="connsiteY77" fmla="*/ 4367 h 458547"/>
                <a:gd name="connsiteX78" fmla="*/ 171773 w 378482"/>
                <a:gd name="connsiteY78" fmla="*/ 2912 h 458547"/>
                <a:gd name="connsiteX79" fmla="*/ 179051 w 378482"/>
                <a:gd name="connsiteY79" fmla="*/ 1456 h 458547"/>
                <a:gd name="connsiteX80" fmla="*/ 190697 w 378482"/>
                <a:gd name="connsiteY80" fmla="*/ 0 h 458547"/>
                <a:gd name="connsiteX0" fmla="*/ 190697 w 378482"/>
                <a:gd name="connsiteY0" fmla="*/ 0 h 458547"/>
                <a:gd name="connsiteX1" fmla="*/ 196520 w 378482"/>
                <a:gd name="connsiteY1" fmla="*/ 0 h 458547"/>
                <a:gd name="connsiteX2" fmla="*/ 202342 w 378482"/>
                <a:gd name="connsiteY2" fmla="*/ 1456 h 458547"/>
                <a:gd name="connsiteX3" fmla="*/ 215444 w 378482"/>
                <a:gd name="connsiteY3" fmla="*/ 7279 h 458547"/>
                <a:gd name="connsiteX4" fmla="*/ 224178 w 378482"/>
                <a:gd name="connsiteY4" fmla="*/ 13102 h 458547"/>
                <a:gd name="connsiteX5" fmla="*/ 232912 w 378482"/>
                <a:gd name="connsiteY5" fmla="*/ 20380 h 458547"/>
                <a:gd name="connsiteX6" fmla="*/ 237279 w 378482"/>
                <a:gd name="connsiteY6" fmla="*/ 24747 h 458547"/>
                <a:gd name="connsiteX7" fmla="*/ 246013 w 378482"/>
                <a:gd name="connsiteY7" fmla="*/ 42216 h 458547"/>
                <a:gd name="connsiteX8" fmla="*/ 263482 w 378482"/>
                <a:gd name="connsiteY8" fmla="*/ 77153 h 458547"/>
                <a:gd name="connsiteX9" fmla="*/ 288229 w 378482"/>
                <a:gd name="connsiteY9" fmla="*/ 128102 h 458547"/>
                <a:gd name="connsiteX10" fmla="*/ 289684 w 378482"/>
                <a:gd name="connsiteY10" fmla="*/ 129558 h 458547"/>
                <a:gd name="connsiteX11" fmla="*/ 358102 w 378482"/>
                <a:gd name="connsiteY11" fmla="*/ 141204 h 458547"/>
                <a:gd name="connsiteX12" fmla="*/ 365381 w 378482"/>
                <a:gd name="connsiteY12" fmla="*/ 144115 h 458547"/>
                <a:gd name="connsiteX13" fmla="*/ 372659 w 378482"/>
                <a:gd name="connsiteY13" fmla="*/ 148482 h 458547"/>
                <a:gd name="connsiteX14" fmla="*/ 377026 w 378482"/>
                <a:gd name="connsiteY14" fmla="*/ 155761 h 458547"/>
                <a:gd name="connsiteX15" fmla="*/ 378482 w 378482"/>
                <a:gd name="connsiteY15" fmla="*/ 164495 h 458547"/>
                <a:gd name="connsiteX16" fmla="*/ 378482 w 378482"/>
                <a:gd name="connsiteY16" fmla="*/ 170318 h 458547"/>
                <a:gd name="connsiteX17" fmla="*/ 377026 w 378482"/>
                <a:gd name="connsiteY17" fmla="*/ 174685 h 458547"/>
                <a:gd name="connsiteX18" fmla="*/ 375571 w 378482"/>
                <a:gd name="connsiteY18" fmla="*/ 179052 h 458547"/>
                <a:gd name="connsiteX19" fmla="*/ 372659 w 378482"/>
                <a:gd name="connsiteY19" fmla="*/ 181963 h 458547"/>
                <a:gd name="connsiteX20" fmla="*/ 368292 w 378482"/>
                <a:gd name="connsiteY20" fmla="*/ 184875 h 458547"/>
                <a:gd name="connsiteX21" fmla="*/ 363925 w 378482"/>
                <a:gd name="connsiteY21" fmla="*/ 187786 h 458547"/>
                <a:gd name="connsiteX22" fmla="*/ 359558 w 378482"/>
                <a:gd name="connsiteY22" fmla="*/ 187786 h 458547"/>
                <a:gd name="connsiteX23" fmla="*/ 355191 w 378482"/>
                <a:gd name="connsiteY23" fmla="*/ 189242 h 458547"/>
                <a:gd name="connsiteX24" fmla="*/ 352279 w 378482"/>
                <a:gd name="connsiteY24" fmla="*/ 189242 h 458547"/>
                <a:gd name="connsiteX25" fmla="*/ 264937 w 378482"/>
                <a:gd name="connsiteY25" fmla="*/ 171773 h 458547"/>
                <a:gd name="connsiteX26" fmla="*/ 260570 w 378482"/>
                <a:gd name="connsiteY26" fmla="*/ 168862 h 458547"/>
                <a:gd name="connsiteX27" fmla="*/ 256203 w 378482"/>
                <a:gd name="connsiteY27" fmla="*/ 165951 h 458547"/>
                <a:gd name="connsiteX28" fmla="*/ 250380 w 378482"/>
                <a:gd name="connsiteY28" fmla="*/ 158672 h 458547"/>
                <a:gd name="connsiteX29" fmla="*/ 230001 w 378482"/>
                <a:gd name="connsiteY29" fmla="*/ 116457 h 458547"/>
                <a:gd name="connsiteX30" fmla="*/ 215444 w 378482"/>
                <a:gd name="connsiteY30" fmla="*/ 187786 h 458547"/>
                <a:gd name="connsiteX31" fmla="*/ 283862 w 378482"/>
                <a:gd name="connsiteY31" fmla="*/ 262027 h 458547"/>
                <a:gd name="connsiteX32" fmla="*/ 286773 w 378482"/>
                <a:gd name="connsiteY32" fmla="*/ 263483 h 458547"/>
                <a:gd name="connsiteX33" fmla="*/ 289684 w 378482"/>
                <a:gd name="connsiteY33" fmla="*/ 269306 h 458547"/>
                <a:gd name="connsiteX34" fmla="*/ 292596 w 378482"/>
                <a:gd name="connsiteY34" fmla="*/ 278040 h 458547"/>
                <a:gd name="connsiteX35" fmla="*/ 294051 w 378482"/>
                <a:gd name="connsiteY35" fmla="*/ 292597 h 458547"/>
                <a:gd name="connsiteX36" fmla="*/ 294051 w 378482"/>
                <a:gd name="connsiteY36" fmla="*/ 362471 h 458547"/>
                <a:gd name="connsiteX37" fmla="*/ 294051 w 378482"/>
                <a:gd name="connsiteY37" fmla="*/ 429433 h 458547"/>
                <a:gd name="connsiteX38" fmla="*/ 294051 w 378482"/>
                <a:gd name="connsiteY38" fmla="*/ 430889 h 458547"/>
                <a:gd name="connsiteX39" fmla="*/ 294051 w 378482"/>
                <a:gd name="connsiteY39" fmla="*/ 433800 h 458547"/>
                <a:gd name="connsiteX40" fmla="*/ 292596 w 378482"/>
                <a:gd name="connsiteY40" fmla="*/ 438167 h 458547"/>
                <a:gd name="connsiteX41" fmla="*/ 291140 w 378482"/>
                <a:gd name="connsiteY41" fmla="*/ 443990 h 458547"/>
                <a:gd name="connsiteX42" fmla="*/ 288229 w 378482"/>
                <a:gd name="connsiteY42" fmla="*/ 448357 h 458547"/>
                <a:gd name="connsiteX43" fmla="*/ 283862 w 378482"/>
                <a:gd name="connsiteY43" fmla="*/ 451269 h 458547"/>
                <a:gd name="connsiteX44" fmla="*/ 280950 w 378482"/>
                <a:gd name="connsiteY44" fmla="*/ 454180 h 458547"/>
                <a:gd name="connsiteX45" fmla="*/ 276583 w 378482"/>
                <a:gd name="connsiteY45" fmla="*/ 457092 h 458547"/>
                <a:gd name="connsiteX46" fmla="*/ 270760 w 378482"/>
                <a:gd name="connsiteY46" fmla="*/ 458547 h 458547"/>
                <a:gd name="connsiteX47" fmla="*/ 264937 w 378482"/>
                <a:gd name="connsiteY47" fmla="*/ 458547 h 458547"/>
                <a:gd name="connsiteX48" fmla="*/ 260570 w 378482"/>
                <a:gd name="connsiteY48" fmla="*/ 458547 h 458547"/>
                <a:gd name="connsiteX49" fmla="*/ 254748 w 378482"/>
                <a:gd name="connsiteY49" fmla="*/ 457092 h 458547"/>
                <a:gd name="connsiteX50" fmla="*/ 250380 w 378482"/>
                <a:gd name="connsiteY50" fmla="*/ 454180 h 458547"/>
                <a:gd name="connsiteX51" fmla="*/ 247469 w 378482"/>
                <a:gd name="connsiteY51" fmla="*/ 451269 h 458547"/>
                <a:gd name="connsiteX52" fmla="*/ 243102 w 378482"/>
                <a:gd name="connsiteY52" fmla="*/ 448357 h 458547"/>
                <a:gd name="connsiteX53" fmla="*/ 240191 w 378482"/>
                <a:gd name="connsiteY53" fmla="*/ 443990 h 458547"/>
                <a:gd name="connsiteX54" fmla="*/ 238735 w 378482"/>
                <a:gd name="connsiteY54" fmla="*/ 438167 h 458547"/>
                <a:gd name="connsiteX55" fmla="*/ 237279 w 378482"/>
                <a:gd name="connsiteY55" fmla="*/ 433800 h 458547"/>
                <a:gd name="connsiteX56" fmla="*/ 237279 w 378482"/>
                <a:gd name="connsiteY56" fmla="*/ 307154 h 458547"/>
                <a:gd name="connsiteX57" fmla="*/ 165950 w 378482"/>
                <a:gd name="connsiteY57" fmla="*/ 235824 h 458547"/>
                <a:gd name="connsiteX58" fmla="*/ 152849 w 378482"/>
                <a:gd name="connsiteY58" fmla="*/ 315888 h 458547"/>
                <a:gd name="connsiteX59" fmla="*/ 149937 w 378482"/>
                <a:gd name="connsiteY59" fmla="*/ 324622 h 458547"/>
                <a:gd name="connsiteX60" fmla="*/ 141203 w 378482"/>
                <a:gd name="connsiteY60" fmla="*/ 336268 h 458547"/>
                <a:gd name="connsiteX61" fmla="*/ 40760 w 378482"/>
                <a:gd name="connsiteY61" fmla="*/ 451269 h 458547"/>
                <a:gd name="connsiteX62" fmla="*/ 27658 w 378482"/>
                <a:gd name="connsiteY62" fmla="*/ 454180 h 458547"/>
                <a:gd name="connsiteX63" fmla="*/ 21836 w 378482"/>
                <a:gd name="connsiteY63" fmla="*/ 454180 h 458547"/>
                <a:gd name="connsiteX64" fmla="*/ 17468 w 378482"/>
                <a:gd name="connsiteY64" fmla="*/ 451269 h 458547"/>
                <a:gd name="connsiteX65" fmla="*/ 13101 w 378482"/>
                <a:gd name="connsiteY65" fmla="*/ 449813 h 458547"/>
                <a:gd name="connsiteX66" fmla="*/ 4367 w 378482"/>
                <a:gd name="connsiteY66" fmla="*/ 442534 h 458547"/>
                <a:gd name="connsiteX67" fmla="*/ 2911 w 378482"/>
                <a:gd name="connsiteY67" fmla="*/ 436712 h 458547"/>
                <a:gd name="connsiteX68" fmla="*/ 0 w 378482"/>
                <a:gd name="connsiteY68" fmla="*/ 426522 h 458547"/>
                <a:gd name="connsiteX69" fmla="*/ 2911 w 378482"/>
                <a:gd name="connsiteY69" fmla="*/ 414876 h 458547"/>
                <a:gd name="connsiteX70" fmla="*/ 5823 w 378482"/>
                <a:gd name="connsiteY70" fmla="*/ 410509 h 458547"/>
                <a:gd name="connsiteX71" fmla="*/ 84431 w 378482"/>
                <a:gd name="connsiteY71" fmla="*/ 314432 h 458547"/>
                <a:gd name="connsiteX72" fmla="*/ 106266 w 378482"/>
                <a:gd name="connsiteY72" fmla="*/ 190698 h 458547"/>
                <a:gd name="connsiteX73" fmla="*/ 117912 w 378482"/>
                <a:gd name="connsiteY73" fmla="*/ 138292 h 458547"/>
                <a:gd name="connsiteX74" fmla="*/ 127016 w 378482"/>
                <a:gd name="connsiteY74" fmla="*/ 93909 h 458547"/>
                <a:gd name="connsiteX75" fmla="*/ 146852 w 378482"/>
                <a:gd name="connsiteY75" fmla="*/ 16944 h 458547"/>
                <a:gd name="connsiteX76" fmla="*/ 168861 w 378482"/>
                <a:gd name="connsiteY76" fmla="*/ 4367 h 458547"/>
                <a:gd name="connsiteX77" fmla="*/ 171773 w 378482"/>
                <a:gd name="connsiteY77" fmla="*/ 2912 h 458547"/>
                <a:gd name="connsiteX78" fmla="*/ 179051 w 378482"/>
                <a:gd name="connsiteY78" fmla="*/ 1456 h 458547"/>
                <a:gd name="connsiteX79" fmla="*/ 190697 w 378482"/>
                <a:gd name="connsiteY79" fmla="*/ 0 h 458547"/>
                <a:gd name="connsiteX0" fmla="*/ 190697 w 378482"/>
                <a:gd name="connsiteY0" fmla="*/ 0 h 458547"/>
                <a:gd name="connsiteX1" fmla="*/ 196520 w 378482"/>
                <a:gd name="connsiteY1" fmla="*/ 0 h 458547"/>
                <a:gd name="connsiteX2" fmla="*/ 202342 w 378482"/>
                <a:gd name="connsiteY2" fmla="*/ 1456 h 458547"/>
                <a:gd name="connsiteX3" fmla="*/ 215444 w 378482"/>
                <a:gd name="connsiteY3" fmla="*/ 7279 h 458547"/>
                <a:gd name="connsiteX4" fmla="*/ 224178 w 378482"/>
                <a:gd name="connsiteY4" fmla="*/ 13102 h 458547"/>
                <a:gd name="connsiteX5" fmla="*/ 232912 w 378482"/>
                <a:gd name="connsiteY5" fmla="*/ 20380 h 458547"/>
                <a:gd name="connsiteX6" fmla="*/ 237279 w 378482"/>
                <a:gd name="connsiteY6" fmla="*/ 24747 h 458547"/>
                <a:gd name="connsiteX7" fmla="*/ 246013 w 378482"/>
                <a:gd name="connsiteY7" fmla="*/ 42216 h 458547"/>
                <a:gd name="connsiteX8" fmla="*/ 263482 w 378482"/>
                <a:gd name="connsiteY8" fmla="*/ 77153 h 458547"/>
                <a:gd name="connsiteX9" fmla="*/ 288229 w 378482"/>
                <a:gd name="connsiteY9" fmla="*/ 128102 h 458547"/>
                <a:gd name="connsiteX10" fmla="*/ 289684 w 378482"/>
                <a:gd name="connsiteY10" fmla="*/ 129558 h 458547"/>
                <a:gd name="connsiteX11" fmla="*/ 358102 w 378482"/>
                <a:gd name="connsiteY11" fmla="*/ 141204 h 458547"/>
                <a:gd name="connsiteX12" fmla="*/ 365381 w 378482"/>
                <a:gd name="connsiteY12" fmla="*/ 144115 h 458547"/>
                <a:gd name="connsiteX13" fmla="*/ 372659 w 378482"/>
                <a:gd name="connsiteY13" fmla="*/ 148482 h 458547"/>
                <a:gd name="connsiteX14" fmla="*/ 377026 w 378482"/>
                <a:gd name="connsiteY14" fmla="*/ 155761 h 458547"/>
                <a:gd name="connsiteX15" fmla="*/ 378482 w 378482"/>
                <a:gd name="connsiteY15" fmla="*/ 164495 h 458547"/>
                <a:gd name="connsiteX16" fmla="*/ 378482 w 378482"/>
                <a:gd name="connsiteY16" fmla="*/ 170318 h 458547"/>
                <a:gd name="connsiteX17" fmla="*/ 377026 w 378482"/>
                <a:gd name="connsiteY17" fmla="*/ 174685 h 458547"/>
                <a:gd name="connsiteX18" fmla="*/ 375571 w 378482"/>
                <a:gd name="connsiteY18" fmla="*/ 179052 h 458547"/>
                <a:gd name="connsiteX19" fmla="*/ 372659 w 378482"/>
                <a:gd name="connsiteY19" fmla="*/ 181963 h 458547"/>
                <a:gd name="connsiteX20" fmla="*/ 368292 w 378482"/>
                <a:gd name="connsiteY20" fmla="*/ 184875 h 458547"/>
                <a:gd name="connsiteX21" fmla="*/ 363925 w 378482"/>
                <a:gd name="connsiteY21" fmla="*/ 187786 h 458547"/>
                <a:gd name="connsiteX22" fmla="*/ 359558 w 378482"/>
                <a:gd name="connsiteY22" fmla="*/ 187786 h 458547"/>
                <a:gd name="connsiteX23" fmla="*/ 355191 w 378482"/>
                <a:gd name="connsiteY23" fmla="*/ 189242 h 458547"/>
                <a:gd name="connsiteX24" fmla="*/ 352279 w 378482"/>
                <a:gd name="connsiteY24" fmla="*/ 189242 h 458547"/>
                <a:gd name="connsiteX25" fmla="*/ 264937 w 378482"/>
                <a:gd name="connsiteY25" fmla="*/ 171773 h 458547"/>
                <a:gd name="connsiteX26" fmla="*/ 260570 w 378482"/>
                <a:gd name="connsiteY26" fmla="*/ 168862 h 458547"/>
                <a:gd name="connsiteX27" fmla="*/ 256203 w 378482"/>
                <a:gd name="connsiteY27" fmla="*/ 165951 h 458547"/>
                <a:gd name="connsiteX28" fmla="*/ 250380 w 378482"/>
                <a:gd name="connsiteY28" fmla="*/ 158672 h 458547"/>
                <a:gd name="connsiteX29" fmla="*/ 230001 w 378482"/>
                <a:gd name="connsiteY29" fmla="*/ 116457 h 458547"/>
                <a:gd name="connsiteX30" fmla="*/ 215444 w 378482"/>
                <a:gd name="connsiteY30" fmla="*/ 187786 h 458547"/>
                <a:gd name="connsiteX31" fmla="*/ 283862 w 378482"/>
                <a:gd name="connsiteY31" fmla="*/ 262027 h 458547"/>
                <a:gd name="connsiteX32" fmla="*/ 286773 w 378482"/>
                <a:gd name="connsiteY32" fmla="*/ 263483 h 458547"/>
                <a:gd name="connsiteX33" fmla="*/ 289684 w 378482"/>
                <a:gd name="connsiteY33" fmla="*/ 269306 h 458547"/>
                <a:gd name="connsiteX34" fmla="*/ 292596 w 378482"/>
                <a:gd name="connsiteY34" fmla="*/ 278040 h 458547"/>
                <a:gd name="connsiteX35" fmla="*/ 294051 w 378482"/>
                <a:gd name="connsiteY35" fmla="*/ 292597 h 458547"/>
                <a:gd name="connsiteX36" fmla="*/ 294051 w 378482"/>
                <a:gd name="connsiteY36" fmla="*/ 362471 h 458547"/>
                <a:gd name="connsiteX37" fmla="*/ 294051 w 378482"/>
                <a:gd name="connsiteY37" fmla="*/ 429433 h 458547"/>
                <a:gd name="connsiteX38" fmla="*/ 294051 w 378482"/>
                <a:gd name="connsiteY38" fmla="*/ 430889 h 458547"/>
                <a:gd name="connsiteX39" fmla="*/ 294051 w 378482"/>
                <a:gd name="connsiteY39" fmla="*/ 433800 h 458547"/>
                <a:gd name="connsiteX40" fmla="*/ 292596 w 378482"/>
                <a:gd name="connsiteY40" fmla="*/ 438167 h 458547"/>
                <a:gd name="connsiteX41" fmla="*/ 291140 w 378482"/>
                <a:gd name="connsiteY41" fmla="*/ 443990 h 458547"/>
                <a:gd name="connsiteX42" fmla="*/ 288229 w 378482"/>
                <a:gd name="connsiteY42" fmla="*/ 448357 h 458547"/>
                <a:gd name="connsiteX43" fmla="*/ 283862 w 378482"/>
                <a:gd name="connsiteY43" fmla="*/ 451269 h 458547"/>
                <a:gd name="connsiteX44" fmla="*/ 280950 w 378482"/>
                <a:gd name="connsiteY44" fmla="*/ 454180 h 458547"/>
                <a:gd name="connsiteX45" fmla="*/ 276583 w 378482"/>
                <a:gd name="connsiteY45" fmla="*/ 457092 h 458547"/>
                <a:gd name="connsiteX46" fmla="*/ 270760 w 378482"/>
                <a:gd name="connsiteY46" fmla="*/ 458547 h 458547"/>
                <a:gd name="connsiteX47" fmla="*/ 264937 w 378482"/>
                <a:gd name="connsiteY47" fmla="*/ 458547 h 458547"/>
                <a:gd name="connsiteX48" fmla="*/ 260570 w 378482"/>
                <a:gd name="connsiteY48" fmla="*/ 458547 h 458547"/>
                <a:gd name="connsiteX49" fmla="*/ 254748 w 378482"/>
                <a:gd name="connsiteY49" fmla="*/ 457092 h 458547"/>
                <a:gd name="connsiteX50" fmla="*/ 250380 w 378482"/>
                <a:gd name="connsiteY50" fmla="*/ 454180 h 458547"/>
                <a:gd name="connsiteX51" fmla="*/ 247469 w 378482"/>
                <a:gd name="connsiteY51" fmla="*/ 451269 h 458547"/>
                <a:gd name="connsiteX52" fmla="*/ 243102 w 378482"/>
                <a:gd name="connsiteY52" fmla="*/ 448357 h 458547"/>
                <a:gd name="connsiteX53" fmla="*/ 240191 w 378482"/>
                <a:gd name="connsiteY53" fmla="*/ 443990 h 458547"/>
                <a:gd name="connsiteX54" fmla="*/ 238735 w 378482"/>
                <a:gd name="connsiteY54" fmla="*/ 438167 h 458547"/>
                <a:gd name="connsiteX55" fmla="*/ 237279 w 378482"/>
                <a:gd name="connsiteY55" fmla="*/ 433800 h 458547"/>
                <a:gd name="connsiteX56" fmla="*/ 237279 w 378482"/>
                <a:gd name="connsiteY56" fmla="*/ 307154 h 458547"/>
                <a:gd name="connsiteX57" fmla="*/ 165950 w 378482"/>
                <a:gd name="connsiteY57" fmla="*/ 235824 h 458547"/>
                <a:gd name="connsiteX58" fmla="*/ 152849 w 378482"/>
                <a:gd name="connsiteY58" fmla="*/ 315888 h 458547"/>
                <a:gd name="connsiteX59" fmla="*/ 149937 w 378482"/>
                <a:gd name="connsiteY59" fmla="*/ 324622 h 458547"/>
                <a:gd name="connsiteX60" fmla="*/ 141203 w 378482"/>
                <a:gd name="connsiteY60" fmla="*/ 336268 h 458547"/>
                <a:gd name="connsiteX61" fmla="*/ 40760 w 378482"/>
                <a:gd name="connsiteY61" fmla="*/ 451269 h 458547"/>
                <a:gd name="connsiteX62" fmla="*/ 27658 w 378482"/>
                <a:gd name="connsiteY62" fmla="*/ 454180 h 458547"/>
                <a:gd name="connsiteX63" fmla="*/ 21836 w 378482"/>
                <a:gd name="connsiteY63" fmla="*/ 454180 h 458547"/>
                <a:gd name="connsiteX64" fmla="*/ 17468 w 378482"/>
                <a:gd name="connsiteY64" fmla="*/ 451269 h 458547"/>
                <a:gd name="connsiteX65" fmla="*/ 4367 w 378482"/>
                <a:gd name="connsiteY65" fmla="*/ 442534 h 458547"/>
                <a:gd name="connsiteX66" fmla="*/ 2911 w 378482"/>
                <a:gd name="connsiteY66" fmla="*/ 436712 h 458547"/>
                <a:gd name="connsiteX67" fmla="*/ 0 w 378482"/>
                <a:gd name="connsiteY67" fmla="*/ 426522 h 458547"/>
                <a:gd name="connsiteX68" fmla="*/ 2911 w 378482"/>
                <a:gd name="connsiteY68" fmla="*/ 414876 h 458547"/>
                <a:gd name="connsiteX69" fmla="*/ 5823 w 378482"/>
                <a:gd name="connsiteY69" fmla="*/ 410509 h 458547"/>
                <a:gd name="connsiteX70" fmla="*/ 84431 w 378482"/>
                <a:gd name="connsiteY70" fmla="*/ 314432 h 458547"/>
                <a:gd name="connsiteX71" fmla="*/ 106266 w 378482"/>
                <a:gd name="connsiteY71" fmla="*/ 190698 h 458547"/>
                <a:gd name="connsiteX72" fmla="*/ 117912 w 378482"/>
                <a:gd name="connsiteY72" fmla="*/ 138292 h 458547"/>
                <a:gd name="connsiteX73" fmla="*/ 127016 w 378482"/>
                <a:gd name="connsiteY73" fmla="*/ 93909 h 458547"/>
                <a:gd name="connsiteX74" fmla="*/ 146852 w 378482"/>
                <a:gd name="connsiteY74" fmla="*/ 16944 h 458547"/>
                <a:gd name="connsiteX75" fmla="*/ 168861 w 378482"/>
                <a:gd name="connsiteY75" fmla="*/ 4367 h 458547"/>
                <a:gd name="connsiteX76" fmla="*/ 171773 w 378482"/>
                <a:gd name="connsiteY76" fmla="*/ 2912 h 458547"/>
                <a:gd name="connsiteX77" fmla="*/ 179051 w 378482"/>
                <a:gd name="connsiteY77" fmla="*/ 1456 h 458547"/>
                <a:gd name="connsiteX78" fmla="*/ 190697 w 378482"/>
                <a:gd name="connsiteY78" fmla="*/ 0 h 458547"/>
                <a:gd name="connsiteX0" fmla="*/ 190697 w 378482"/>
                <a:gd name="connsiteY0" fmla="*/ 0 h 458547"/>
                <a:gd name="connsiteX1" fmla="*/ 196520 w 378482"/>
                <a:gd name="connsiteY1" fmla="*/ 0 h 458547"/>
                <a:gd name="connsiteX2" fmla="*/ 202342 w 378482"/>
                <a:gd name="connsiteY2" fmla="*/ 1456 h 458547"/>
                <a:gd name="connsiteX3" fmla="*/ 215444 w 378482"/>
                <a:gd name="connsiteY3" fmla="*/ 7279 h 458547"/>
                <a:gd name="connsiteX4" fmla="*/ 224178 w 378482"/>
                <a:gd name="connsiteY4" fmla="*/ 13102 h 458547"/>
                <a:gd name="connsiteX5" fmla="*/ 232912 w 378482"/>
                <a:gd name="connsiteY5" fmla="*/ 20380 h 458547"/>
                <a:gd name="connsiteX6" fmla="*/ 237279 w 378482"/>
                <a:gd name="connsiteY6" fmla="*/ 24747 h 458547"/>
                <a:gd name="connsiteX7" fmla="*/ 246013 w 378482"/>
                <a:gd name="connsiteY7" fmla="*/ 42216 h 458547"/>
                <a:gd name="connsiteX8" fmla="*/ 263482 w 378482"/>
                <a:gd name="connsiteY8" fmla="*/ 77153 h 458547"/>
                <a:gd name="connsiteX9" fmla="*/ 288229 w 378482"/>
                <a:gd name="connsiteY9" fmla="*/ 128102 h 458547"/>
                <a:gd name="connsiteX10" fmla="*/ 289684 w 378482"/>
                <a:gd name="connsiteY10" fmla="*/ 129558 h 458547"/>
                <a:gd name="connsiteX11" fmla="*/ 358102 w 378482"/>
                <a:gd name="connsiteY11" fmla="*/ 141204 h 458547"/>
                <a:gd name="connsiteX12" fmla="*/ 365381 w 378482"/>
                <a:gd name="connsiteY12" fmla="*/ 144115 h 458547"/>
                <a:gd name="connsiteX13" fmla="*/ 372659 w 378482"/>
                <a:gd name="connsiteY13" fmla="*/ 148482 h 458547"/>
                <a:gd name="connsiteX14" fmla="*/ 377026 w 378482"/>
                <a:gd name="connsiteY14" fmla="*/ 155761 h 458547"/>
                <a:gd name="connsiteX15" fmla="*/ 378482 w 378482"/>
                <a:gd name="connsiteY15" fmla="*/ 164495 h 458547"/>
                <a:gd name="connsiteX16" fmla="*/ 378482 w 378482"/>
                <a:gd name="connsiteY16" fmla="*/ 170318 h 458547"/>
                <a:gd name="connsiteX17" fmla="*/ 377026 w 378482"/>
                <a:gd name="connsiteY17" fmla="*/ 174685 h 458547"/>
                <a:gd name="connsiteX18" fmla="*/ 375571 w 378482"/>
                <a:gd name="connsiteY18" fmla="*/ 179052 h 458547"/>
                <a:gd name="connsiteX19" fmla="*/ 372659 w 378482"/>
                <a:gd name="connsiteY19" fmla="*/ 181963 h 458547"/>
                <a:gd name="connsiteX20" fmla="*/ 368292 w 378482"/>
                <a:gd name="connsiteY20" fmla="*/ 184875 h 458547"/>
                <a:gd name="connsiteX21" fmla="*/ 363925 w 378482"/>
                <a:gd name="connsiteY21" fmla="*/ 187786 h 458547"/>
                <a:gd name="connsiteX22" fmla="*/ 359558 w 378482"/>
                <a:gd name="connsiteY22" fmla="*/ 187786 h 458547"/>
                <a:gd name="connsiteX23" fmla="*/ 355191 w 378482"/>
                <a:gd name="connsiteY23" fmla="*/ 189242 h 458547"/>
                <a:gd name="connsiteX24" fmla="*/ 352279 w 378482"/>
                <a:gd name="connsiteY24" fmla="*/ 189242 h 458547"/>
                <a:gd name="connsiteX25" fmla="*/ 264937 w 378482"/>
                <a:gd name="connsiteY25" fmla="*/ 171773 h 458547"/>
                <a:gd name="connsiteX26" fmla="*/ 260570 w 378482"/>
                <a:gd name="connsiteY26" fmla="*/ 168862 h 458547"/>
                <a:gd name="connsiteX27" fmla="*/ 256203 w 378482"/>
                <a:gd name="connsiteY27" fmla="*/ 165951 h 458547"/>
                <a:gd name="connsiteX28" fmla="*/ 250380 w 378482"/>
                <a:gd name="connsiteY28" fmla="*/ 158672 h 458547"/>
                <a:gd name="connsiteX29" fmla="*/ 230001 w 378482"/>
                <a:gd name="connsiteY29" fmla="*/ 116457 h 458547"/>
                <a:gd name="connsiteX30" fmla="*/ 215444 w 378482"/>
                <a:gd name="connsiteY30" fmla="*/ 187786 h 458547"/>
                <a:gd name="connsiteX31" fmla="*/ 283862 w 378482"/>
                <a:gd name="connsiteY31" fmla="*/ 262027 h 458547"/>
                <a:gd name="connsiteX32" fmla="*/ 286773 w 378482"/>
                <a:gd name="connsiteY32" fmla="*/ 263483 h 458547"/>
                <a:gd name="connsiteX33" fmla="*/ 289684 w 378482"/>
                <a:gd name="connsiteY33" fmla="*/ 269306 h 458547"/>
                <a:gd name="connsiteX34" fmla="*/ 292596 w 378482"/>
                <a:gd name="connsiteY34" fmla="*/ 278040 h 458547"/>
                <a:gd name="connsiteX35" fmla="*/ 294051 w 378482"/>
                <a:gd name="connsiteY35" fmla="*/ 292597 h 458547"/>
                <a:gd name="connsiteX36" fmla="*/ 294051 w 378482"/>
                <a:gd name="connsiteY36" fmla="*/ 362471 h 458547"/>
                <a:gd name="connsiteX37" fmla="*/ 294051 w 378482"/>
                <a:gd name="connsiteY37" fmla="*/ 429433 h 458547"/>
                <a:gd name="connsiteX38" fmla="*/ 294051 w 378482"/>
                <a:gd name="connsiteY38" fmla="*/ 430889 h 458547"/>
                <a:gd name="connsiteX39" fmla="*/ 294051 w 378482"/>
                <a:gd name="connsiteY39" fmla="*/ 433800 h 458547"/>
                <a:gd name="connsiteX40" fmla="*/ 292596 w 378482"/>
                <a:gd name="connsiteY40" fmla="*/ 438167 h 458547"/>
                <a:gd name="connsiteX41" fmla="*/ 291140 w 378482"/>
                <a:gd name="connsiteY41" fmla="*/ 443990 h 458547"/>
                <a:gd name="connsiteX42" fmla="*/ 288229 w 378482"/>
                <a:gd name="connsiteY42" fmla="*/ 448357 h 458547"/>
                <a:gd name="connsiteX43" fmla="*/ 283862 w 378482"/>
                <a:gd name="connsiteY43" fmla="*/ 451269 h 458547"/>
                <a:gd name="connsiteX44" fmla="*/ 280950 w 378482"/>
                <a:gd name="connsiteY44" fmla="*/ 454180 h 458547"/>
                <a:gd name="connsiteX45" fmla="*/ 276583 w 378482"/>
                <a:gd name="connsiteY45" fmla="*/ 457092 h 458547"/>
                <a:gd name="connsiteX46" fmla="*/ 270760 w 378482"/>
                <a:gd name="connsiteY46" fmla="*/ 458547 h 458547"/>
                <a:gd name="connsiteX47" fmla="*/ 264937 w 378482"/>
                <a:gd name="connsiteY47" fmla="*/ 458547 h 458547"/>
                <a:gd name="connsiteX48" fmla="*/ 260570 w 378482"/>
                <a:gd name="connsiteY48" fmla="*/ 458547 h 458547"/>
                <a:gd name="connsiteX49" fmla="*/ 254748 w 378482"/>
                <a:gd name="connsiteY49" fmla="*/ 457092 h 458547"/>
                <a:gd name="connsiteX50" fmla="*/ 250380 w 378482"/>
                <a:gd name="connsiteY50" fmla="*/ 454180 h 458547"/>
                <a:gd name="connsiteX51" fmla="*/ 247469 w 378482"/>
                <a:gd name="connsiteY51" fmla="*/ 451269 h 458547"/>
                <a:gd name="connsiteX52" fmla="*/ 243102 w 378482"/>
                <a:gd name="connsiteY52" fmla="*/ 448357 h 458547"/>
                <a:gd name="connsiteX53" fmla="*/ 240191 w 378482"/>
                <a:gd name="connsiteY53" fmla="*/ 443990 h 458547"/>
                <a:gd name="connsiteX54" fmla="*/ 238735 w 378482"/>
                <a:gd name="connsiteY54" fmla="*/ 438167 h 458547"/>
                <a:gd name="connsiteX55" fmla="*/ 237279 w 378482"/>
                <a:gd name="connsiteY55" fmla="*/ 433800 h 458547"/>
                <a:gd name="connsiteX56" fmla="*/ 237279 w 378482"/>
                <a:gd name="connsiteY56" fmla="*/ 307154 h 458547"/>
                <a:gd name="connsiteX57" fmla="*/ 165950 w 378482"/>
                <a:gd name="connsiteY57" fmla="*/ 235824 h 458547"/>
                <a:gd name="connsiteX58" fmla="*/ 152849 w 378482"/>
                <a:gd name="connsiteY58" fmla="*/ 315888 h 458547"/>
                <a:gd name="connsiteX59" fmla="*/ 149937 w 378482"/>
                <a:gd name="connsiteY59" fmla="*/ 324622 h 458547"/>
                <a:gd name="connsiteX60" fmla="*/ 141203 w 378482"/>
                <a:gd name="connsiteY60" fmla="*/ 336268 h 458547"/>
                <a:gd name="connsiteX61" fmla="*/ 40760 w 378482"/>
                <a:gd name="connsiteY61" fmla="*/ 451269 h 458547"/>
                <a:gd name="connsiteX62" fmla="*/ 27658 w 378482"/>
                <a:gd name="connsiteY62" fmla="*/ 454180 h 458547"/>
                <a:gd name="connsiteX63" fmla="*/ 21836 w 378482"/>
                <a:gd name="connsiteY63" fmla="*/ 454180 h 458547"/>
                <a:gd name="connsiteX64" fmla="*/ 17468 w 378482"/>
                <a:gd name="connsiteY64" fmla="*/ 451269 h 458547"/>
                <a:gd name="connsiteX65" fmla="*/ 4367 w 378482"/>
                <a:gd name="connsiteY65" fmla="*/ 442534 h 458547"/>
                <a:gd name="connsiteX66" fmla="*/ 0 w 378482"/>
                <a:gd name="connsiteY66" fmla="*/ 426522 h 458547"/>
                <a:gd name="connsiteX67" fmla="*/ 2911 w 378482"/>
                <a:gd name="connsiteY67" fmla="*/ 414876 h 458547"/>
                <a:gd name="connsiteX68" fmla="*/ 5823 w 378482"/>
                <a:gd name="connsiteY68" fmla="*/ 410509 h 458547"/>
                <a:gd name="connsiteX69" fmla="*/ 84431 w 378482"/>
                <a:gd name="connsiteY69" fmla="*/ 314432 h 458547"/>
                <a:gd name="connsiteX70" fmla="*/ 106266 w 378482"/>
                <a:gd name="connsiteY70" fmla="*/ 190698 h 458547"/>
                <a:gd name="connsiteX71" fmla="*/ 117912 w 378482"/>
                <a:gd name="connsiteY71" fmla="*/ 138292 h 458547"/>
                <a:gd name="connsiteX72" fmla="*/ 127016 w 378482"/>
                <a:gd name="connsiteY72" fmla="*/ 93909 h 458547"/>
                <a:gd name="connsiteX73" fmla="*/ 146852 w 378482"/>
                <a:gd name="connsiteY73" fmla="*/ 16944 h 458547"/>
                <a:gd name="connsiteX74" fmla="*/ 168861 w 378482"/>
                <a:gd name="connsiteY74" fmla="*/ 4367 h 458547"/>
                <a:gd name="connsiteX75" fmla="*/ 171773 w 378482"/>
                <a:gd name="connsiteY75" fmla="*/ 2912 h 458547"/>
                <a:gd name="connsiteX76" fmla="*/ 179051 w 378482"/>
                <a:gd name="connsiteY76" fmla="*/ 1456 h 458547"/>
                <a:gd name="connsiteX77" fmla="*/ 190697 w 378482"/>
                <a:gd name="connsiteY77" fmla="*/ 0 h 458547"/>
                <a:gd name="connsiteX0" fmla="*/ 187786 w 375571"/>
                <a:gd name="connsiteY0" fmla="*/ 0 h 458547"/>
                <a:gd name="connsiteX1" fmla="*/ 193609 w 375571"/>
                <a:gd name="connsiteY1" fmla="*/ 0 h 458547"/>
                <a:gd name="connsiteX2" fmla="*/ 199431 w 375571"/>
                <a:gd name="connsiteY2" fmla="*/ 1456 h 458547"/>
                <a:gd name="connsiteX3" fmla="*/ 212533 w 375571"/>
                <a:gd name="connsiteY3" fmla="*/ 7279 h 458547"/>
                <a:gd name="connsiteX4" fmla="*/ 221267 w 375571"/>
                <a:gd name="connsiteY4" fmla="*/ 13102 h 458547"/>
                <a:gd name="connsiteX5" fmla="*/ 230001 w 375571"/>
                <a:gd name="connsiteY5" fmla="*/ 20380 h 458547"/>
                <a:gd name="connsiteX6" fmla="*/ 234368 w 375571"/>
                <a:gd name="connsiteY6" fmla="*/ 24747 h 458547"/>
                <a:gd name="connsiteX7" fmla="*/ 243102 w 375571"/>
                <a:gd name="connsiteY7" fmla="*/ 42216 h 458547"/>
                <a:gd name="connsiteX8" fmla="*/ 260571 w 375571"/>
                <a:gd name="connsiteY8" fmla="*/ 77153 h 458547"/>
                <a:gd name="connsiteX9" fmla="*/ 285318 w 375571"/>
                <a:gd name="connsiteY9" fmla="*/ 128102 h 458547"/>
                <a:gd name="connsiteX10" fmla="*/ 286773 w 375571"/>
                <a:gd name="connsiteY10" fmla="*/ 129558 h 458547"/>
                <a:gd name="connsiteX11" fmla="*/ 355191 w 375571"/>
                <a:gd name="connsiteY11" fmla="*/ 141204 h 458547"/>
                <a:gd name="connsiteX12" fmla="*/ 362470 w 375571"/>
                <a:gd name="connsiteY12" fmla="*/ 144115 h 458547"/>
                <a:gd name="connsiteX13" fmla="*/ 369748 w 375571"/>
                <a:gd name="connsiteY13" fmla="*/ 148482 h 458547"/>
                <a:gd name="connsiteX14" fmla="*/ 374115 w 375571"/>
                <a:gd name="connsiteY14" fmla="*/ 155761 h 458547"/>
                <a:gd name="connsiteX15" fmla="*/ 375571 w 375571"/>
                <a:gd name="connsiteY15" fmla="*/ 164495 h 458547"/>
                <a:gd name="connsiteX16" fmla="*/ 375571 w 375571"/>
                <a:gd name="connsiteY16" fmla="*/ 170318 h 458547"/>
                <a:gd name="connsiteX17" fmla="*/ 374115 w 375571"/>
                <a:gd name="connsiteY17" fmla="*/ 174685 h 458547"/>
                <a:gd name="connsiteX18" fmla="*/ 372660 w 375571"/>
                <a:gd name="connsiteY18" fmla="*/ 179052 h 458547"/>
                <a:gd name="connsiteX19" fmla="*/ 369748 w 375571"/>
                <a:gd name="connsiteY19" fmla="*/ 181963 h 458547"/>
                <a:gd name="connsiteX20" fmla="*/ 365381 w 375571"/>
                <a:gd name="connsiteY20" fmla="*/ 184875 h 458547"/>
                <a:gd name="connsiteX21" fmla="*/ 361014 w 375571"/>
                <a:gd name="connsiteY21" fmla="*/ 187786 h 458547"/>
                <a:gd name="connsiteX22" fmla="*/ 356647 w 375571"/>
                <a:gd name="connsiteY22" fmla="*/ 187786 h 458547"/>
                <a:gd name="connsiteX23" fmla="*/ 352280 w 375571"/>
                <a:gd name="connsiteY23" fmla="*/ 189242 h 458547"/>
                <a:gd name="connsiteX24" fmla="*/ 349368 w 375571"/>
                <a:gd name="connsiteY24" fmla="*/ 189242 h 458547"/>
                <a:gd name="connsiteX25" fmla="*/ 262026 w 375571"/>
                <a:gd name="connsiteY25" fmla="*/ 171773 h 458547"/>
                <a:gd name="connsiteX26" fmla="*/ 257659 w 375571"/>
                <a:gd name="connsiteY26" fmla="*/ 168862 h 458547"/>
                <a:gd name="connsiteX27" fmla="*/ 253292 w 375571"/>
                <a:gd name="connsiteY27" fmla="*/ 165951 h 458547"/>
                <a:gd name="connsiteX28" fmla="*/ 247469 w 375571"/>
                <a:gd name="connsiteY28" fmla="*/ 158672 h 458547"/>
                <a:gd name="connsiteX29" fmla="*/ 227090 w 375571"/>
                <a:gd name="connsiteY29" fmla="*/ 116457 h 458547"/>
                <a:gd name="connsiteX30" fmla="*/ 212533 w 375571"/>
                <a:gd name="connsiteY30" fmla="*/ 187786 h 458547"/>
                <a:gd name="connsiteX31" fmla="*/ 280951 w 375571"/>
                <a:gd name="connsiteY31" fmla="*/ 262027 h 458547"/>
                <a:gd name="connsiteX32" fmla="*/ 283862 w 375571"/>
                <a:gd name="connsiteY32" fmla="*/ 263483 h 458547"/>
                <a:gd name="connsiteX33" fmla="*/ 286773 w 375571"/>
                <a:gd name="connsiteY33" fmla="*/ 269306 h 458547"/>
                <a:gd name="connsiteX34" fmla="*/ 289685 w 375571"/>
                <a:gd name="connsiteY34" fmla="*/ 278040 h 458547"/>
                <a:gd name="connsiteX35" fmla="*/ 291140 w 375571"/>
                <a:gd name="connsiteY35" fmla="*/ 292597 h 458547"/>
                <a:gd name="connsiteX36" fmla="*/ 291140 w 375571"/>
                <a:gd name="connsiteY36" fmla="*/ 362471 h 458547"/>
                <a:gd name="connsiteX37" fmla="*/ 291140 w 375571"/>
                <a:gd name="connsiteY37" fmla="*/ 429433 h 458547"/>
                <a:gd name="connsiteX38" fmla="*/ 291140 w 375571"/>
                <a:gd name="connsiteY38" fmla="*/ 430889 h 458547"/>
                <a:gd name="connsiteX39" fmla="*/ 291140 w 375571"/>
                <a:gd name="connsiteY39" fmla="*/ 433800 h 458547"/>
                <a:gd name="connsiteX40" fmla="*/ 289685 w 375571"/>
                <a:gd name="connsiteY40" fmla="*/ 438167 h 458547"/>
                <a:gd name="connsiteX41" fmla="*/ 288229 w 375571"/>
                <a:gd name="connsiteY41" fmla="*/ 443990 h 458547"/>
                <a:gd name="connsiteX42" fmla="*/ 285318 w 375571"/>
                <a:gd name="connsiteY42" fmla="*/ 448357 h 458547"/>
                <a:gd name="connsiteX43" fmla="*/ 280951 w 375571"/>
                <a:gd name="connsiteY43" fmla="*/ 451269 h 458547"/>
                <a:gd name="connsiteX44" fmla="*/ 278039 w 375571"/>
                <a:gd name="connsiteY44" fmla="*/ 454180 h 458547"/>
                <a:gd name="connsiteX45" fmla="*/ 273672 w 375571"/>
                <a:gd name="connsiteY45" fmla="*/ 457092 h 458547"/>
                <a:gd name="connsiteX46" fmla="*/ 267849 w 375571"/>
                <a:gd name="connsiteY46" fmla="*/ 458547 h 458547"/>
                <a:gd name="connsiteX47" fmla="*/ 262026 w 375571"/>
                <a:gd name="connsiteY47" fmla="*/ 458547 h 458547"/>
                <a:gd name="connsiteX48" fmla="*/ 257659 w 375571"/>
                <a:gd name="connsiteY48" fmla="*/ 458547 h 458547"/>
                <a:gd name="connsiteX49" fmla="*/ 251837 w 375571"/>
                <a:gd name="connsiteY49" fmla="*/ 457092 h 458547"/>
                <a:gd name="connsiteX50" fmla="*/ 247469 w 375571"/>
                <a:gd name="connsiteY50" fmla="*/ 454180 h 458547"/>
                <a:gd name="connsiteX51" fmla="*/ 244558 w 375571"/>
                <a:gd name="connsiteY51" fmla="*/ 451269 h 458547"/>
                <a:gd name="connsiteX52" fmla="*/ 240191 w 375571"/>
                <a:gd name="connsiteY52" fmla="*/ 448357 h 458547"/>
                <a:gd name="connsiteX53" fmla="*/ 237280 w 375571"/>
                <a:gd name="connsiteY53" fmla="*/ 443990 h 458547"/>
                <a:gd name="connsiteX54" fmla="*/ 235824 w 375571"/>
                <a:gd name="connsiteY54" fmla="*/ 438167 h 458547"/>
                <a:gd name="connsiteX55" fmla="*/ 234368 w 375571"/>
                <a:gd name="connsiteY55" fmla="*/ 433800 h 458547"/>
                <a:gd name="connsiteX56" fmla="*/ 234368 w 375571"/>
                <a:gd name="connsiteY56" fmla="*/ 307154 h 458547"/>
                <a:gd name="connsiteX57" fmla="*/ 163039 w 375571"/>
                <a:gd name="connsiteY57" fmla="*/ 235824 h 458547"/>
                <a:gd name="connsiteX58" fmla="*/ 149938 w 375571"/>
                <a:gd name="connsiteY58" fmla="*/ 315888 h 458547"/>
                <a:gd name="connsiteX59" fmla="*/ 147026 w 375571"/>
                <a:gd name="connsiteY59" fmla="*/ 324622 h 458547"/>
                <a:gd name="connsiteX60" fmla="*/ 138292 w 375571"/>
                <a:gd name="connsiteY60" fmla="*/ 336268 h 458547"/>
                <a:gd name="connsiteX61" fmla="*/ 37849 w 375571"/>
                <a:gd name="connsiteY61" fmla="*/ 451269 h 458547"/>
                <a:gd name="connsiteX62" fmla="*/ 24747 w 375571"/>
                <a:gd name="connsiteY62" fmla="*/ 454180 h 458547"/>
                <a:gd name="connsiteX63" fmla="*/ 18925 w 375571"/>
                <a:gd name="connsiteY63" fmla="*/ 454180 h 458547"/>
                <a:gd name="connsiteX64" fmla="*/ 14557 w 375571"/>
                <a:gd name="connsiteY64" fmla="*/ 451269 h 458547"/>
                <a:gd name="connsiteX65" fmla="*/ 1456 w 375571"/>
                <a:gd name="connsiteY65" fmla="*/ 442534 h 458547"/>
                <a:gd name="connsiteX66" fmla="*/ 0 w 375571"/>
                <a:gd name="connsiteY66" fmla="*/ 414876 h 458547"/>
                <a:gd name="connsiteX67" fmla="*/ 2912 w 375571"/>
                <a:gd name="connsiteY67" fmla="*/ 410509 h 458547"/>
                <a:gd name="connsiteX68" fmla="*/ 81520 w 375571"/>
                <a:gd name="connsiteY68" fmla="*/ 314432 h 458547"/>
                <a:gd name="connsiteX69" fmla="*/ 103355 w 375571"/>
                <a:gd name="connsiteY69" fmla="*/ 190698 h 458547"/>
                <a:gd name="connsiteX70" fmla="*/ 115001 w 375571"/>
                <a:gd name="connsiteY70" fmla="*/ 138292 h 458547"/>
                <a:gd name="connsiteX71" fmla="*/ 124105 w 375571"/>
                <a:gd name="connsiteY71" fmla="*/ 93909 h 458547"/>
                <a:gd name="connsiteX72" fmla="*/ 143941 w 375571"/>
                <a:gd name="connsiteY72" fmla="*/ 16944 h 458547"/>
                <a:gd name="connsiteX73" fmla="*/ 165950 w 375571"/>
                <a:gd name="connsiteY73" fmla="*/ 4367 h 458547"/>
                <a:gd name="connsiteX74" fmla="*/ 168862 w 375571"/>
                <a:gd name="connsiteY74" fmla="*/ 2912 h 458547"/>
                <a:gd name="connsiteX75" fmla="*/ 176140 w 375571"/>
                <a:gd name="connsiteY75" fmla="*/ 1456 h 458547"/>
                <a:gd name="connsiteX76" fmla="*/ 187786 w 375571"/>
                <a:gd name="connsiteY76" fmla="*/ 0 h 458547"/>
                <a:gd name="connsiteX0" fmla="*/ 191715 w 379500"/>
                <a:gd name="connsiteY0" fmla="*/ 0 h 458547"/>
                <a:gd name="connsiteX1" fmla="*/ 197538 w 379500"/>
                <a:gd name="connsiteY1" fmla="*/ 0 h 458547"/>
                <a:gd name="connsiteX2" fmla="*/ 203360 w 379500"/>
                <a:gd name="connsiteY2" fmla="*/ 1456 h 458547"/>
                <a:gd name="connsiteX3" fmla="*/ 216462 w 379500"/>
                <a:gd name="connsiteY3" fmla="*/ 7279 h 458547"/>
                <a:gd name="connsiteX4" fmla="*/ 225196 w 379500"/>
                <a:gd name="connsiteY4" fmla="*/ 13102 h 458547"/>
                <a:gd name="connsiteX5" fmla="*/ 233930 w 379500"/>
                <a:gd name="connsiteY5" fmla="*/ 20380 h 458547"/>
                <a:gd name="connsiteX6" fmla="*/ 238297 w 379500"/>
                <a:gd name="connsiteY6" fmla="*/ 24747 h 458547"/>
                <a:gd name="connsiteX7" fmla="*/ 247031 w 379500"/>
                <a:gd name="connsiteY7" fmla="*/ 42216 h 458547"/>
                <a:gd name="connsiteX8" fmla="*/ 264500 w 379500"/>
                <a:gd name="connsiteY8" fmla="*/ 77153 h 458547"/>
                <a:gd name="connsiteX9" fmla="*/ 289247 w 379500"/>
                <a:gd name="connsiteY9" fmla="*/ 128102 h 458547"/>
                <a:gd name="connsiteX10" fmla="*/ 290702 w 379500"/>
                <a:gd name="connsiteY10" fmla="*/ 129558 h 458547"/>
                <a:gd name="connsiteX11" fmla="*/ 359120 w 379500"/>
                <a:gd name="connsiteY11" fmla="*/ 141204 h 458547"/>
                <a:gd name="connsiteX12" fmla="*/ 366399 w 379500"/>
                <a:gd name="connsiteY12" fmla="*/ 144115 h 458547"/>
                <a:gd name="connsiteX13" fmla="*/ 373677 w 379500"/>
                <a:gd name="connsiteY13" fmla="*/ 148482 h 458547"/>
                <a:gd name="connsiteX14" fmla="*/ 378044 w 379500"/>
                <a:gd name="connsiteY14" fmla="*/ 155761 h 458547"/>
                <a:gd name="connsiteX15" fmla="*/ 379500 w 379500"/>
                <a:gd name="connsiteY15" fmla="*/ 164495 h 458547"/>
                <a:gd name="connsiteX16" fmla="*/ 379500 w 379500"/>
                <a:gd name="connsiteY16" fmla="*/ 170318 h 458547"/>
                <a:gd name="connsiteX17" fmla="*/ 378044 w 379500"/>
                <a:gd name="connsiteY17" fmla="*/ 174685 h 458547"/>
                <a:gd name="connsiteX18" fmla="*/ 376589 w 379500"/>
                <a:gd name="connsiteY18" fmla="*/ 179052 h 458547"/>
                <a:gd name="connsiteX19" fmla="*/ 373677 w 379500"/>
                <a:gd name="connsiteY19" fmla="*/ 181963 h 458547"/>
                <a:gd name="connsiteX20" fmla="*/ 369310 w 379500"/>
                <a:gd name="connsiteY20" fmla="*/ 184875 h 458547"/>
                <a:gd name="connsiteX21" fmla="*/ 364943 w 379500"/>
                <a:gd name="connsiteY21" fmla="*/ 187786 h 458547"/>
                <a:gd name="connsiteX22" fmla="*/ 360576 w 379500"/>
                <a:gd name="connsiteY22" fmla="*/ 187786 h 458547"/>
                <a:gd name="connsiteX23" fmla="*/ 356209 w 379500"/>
                <a:gd name="connsiteY23" fmla="*/ 189242 h 458547"/>
                <a:gd name="connsiteX24" fmla="*/ 353297 w 379500"/>
                <a:gd name="connsiteY24" fmla="*/ 189242 h 458547"/>
                <a:gd name="connsiteX25" fmla="*/ 265955 w 379500"/>
                <a:gd name="connsiteY25" fmla="*/ 171773 h 458547"/>
                <a:gd name="connsiteX26" fmla="*/ 261588 w 379500"/>
                <a:gd name="connsiteY26" fmla="*/ 168862 h 458547"/>
                <a:gd name="connsiteX27" fmla="*/ 257221 w 379500"/>
                <a:gd name="connsiteY27" fmla="*/ 165951 h 458547"/>
                <a:gd name="connsiteX28" fmla="*/ 251398 w 379500"/>
                <a:gd name="connsiteY28" fmla="*/ 158672 h 458547"/>
                <a:gd name="connsiteX29" fmla="*/ 231019 w 379500"/>
                <a:gd name="connsiteY29" fmla="*/ 116457 h 458547"/>
                <a:gd name="connsiteX30" fmla="*/ 216462 w 379500"/>
                <a:gd name="connsiteY30" fmla="*/ 187786 h 458547"/>
                <a:gd name="connsiteX31" fmla="*/ 284880 w 379500"/>
                <a:gd name="connsiteY31" fmla="*/ 262027 h 458547"/>
                <a:gd name="connsiteX32" fmla="*/ 287791 w 379500"/>
                <a:gd name="connsiteY32" fmla="*/ 263483 h 458547"/>
                <a:gd name="connsiteX33" fmla="*/ 290702 w 379500"/>
                <a:gd name="connsiteY33" fmla="*/ 269306 h 458547"/>
                <a:gd name="connsiteX34" fmla="*/ 293614 w 379500"/>
                <a:gd name="connsiteY34" fmla="*/ 278040 h 458547"/>
                <a:gd name="connsiteX35" fmla="*/ 295069 w 379500"/>
                <a:gd name="connsiteY35" fmla="*/ 292597 h 458547"/>
                <a:gd name="connsiteX36" fmla="*/ 295069 w 379500"/>
                <a:gd name="connsiteY36" fmla="*/ 362471 h 458547"/>
                <a:gd name="connsiteX37" fmla="*/ 295069 w 379500"/>
                <a:gd name="connsiteY37" fmla="*/ 429433 h 458547"/>
                <a:gd name="connsiteX38" fmla="*/ 295069 w 379500"/>
                <a:gd name="connsiteY38" fmla="*/ 430889 h 458547"/>
                <a:gd name="connsiteX39" fmla="*/ 295069 w 379500"/>
                <a:gd name="connsiteY39" fmla="*/ 433800 h 458547"/>
                <a:gd name="connsiteX40" fmla="*/ 293614 w 379500"/>
                <a:gd name="connsiteY40" fmla="*/ 438167 h 458547"/>
                <a:gd name="connsiteX41" fmla="*/ 292158 w 379500"/>
                <a:gd name="connsiteY41" fmla="*/ 443990 h 458547"/>
                <a:gd name="connsiteX42" fmla="*/ 289247 w 379500"/>
                <a:gd name="connsiteY42" fmla="*/ 448357 h 458547"/>
                <a:gd name="connsiteX43" fmla="*/ 284880 w 379500"/>
                <a:gd name="connsiteY43" fmla="*/ 451269 h 458547"/>
                <a:gd name="connsiteX44" fmla="*/ 281968 w 379500"/>
                <a:gd name="connsiteY44" fmla="*/ 454180 h 458547"/>
                <a:gd name="connsiteX45" fmla="*/ 277601 w 379500"/>
                <a:gd name="connsiteY45" fmla="*/ 457092 h 458547"/>
                <a:gd name="connsiteX46" fmla="*/ 271778 w 379500"/>
                <a:gd name="connsiteY46" fmla="*/ 458547 h 458547"/>
                <a:gd name="connsiteX47" fmla="*/ 265955 w 379500"/>
                <a:gd name="connsiteY47" fmla="*/ 458547 h 458547"/>
                <a:gd name="connsiteX48" fmla="*/ 261588 w 379500"/>
                <a:gd name="connsiteY48" fmla="*/ 458547 h 458547"/>
                <a:gd name="connsiteX49" fmla="*/ 255766 w 379500"/>
                <a:gd name="connsiteY49" fmla="*/ 457092 h 458547"/>
                <a:gd name="connsiteX50" fmla="*/ 251398 w 379500"/>
                <a:gd name="connsiteY50" fmla="*/ 454180 h 458547"/>
                <a:gd name="connsiteX51" fmla="*/ 248487 w 379500"/>
                <a:gd name="connsiteY51" fmla="*/ 451269 h 458547"/>
                <a:gd name="connsiteX52" fmla="*/ 244120 w 379500"/>
                <a:gd name="connsiteY52" fmla="*/ 448357 h 458547"/>
                <a:gd name="connsiteX53" fmla="*/ 241209 w 379500"/>
                <a:gd name="connsiteY53" fmla="*/ 443990 h 458547"/>
                <a:gd name="connsiteX54" fmla="*/ 239753 w 379500"/>
                <a:gd name="connsiteY54" fmla="*/ 438167 h 458547"/>
                <a:gd name="connsiteX55" fmla="*/ 238297 w 379500"/>
                <a:gd name="connsiteY55" fmla="*/ 433800 h 458547"/>
                <a:gd name="connsiteX56" fmla="*/ 238297 w 379500"/>
                <a:gd name="connsiteY56" fmla="*/ 307154 h 458547"/>
                <a:gd name="connsiteX57" fmla="*/ 166968 w 379500"/>
                <a:gd name="connsiteY57" fmla="*/ 235824 h 458547"/>
                <a:gd name="connsiteX58" fmla="*/ 153867 w 379500"/>
                <a:gd name="connsiteY58" fmla="*/ 315888 h 458547"/>
                <a:gd name="connsiteX59" fmla="*/ 150955 w 379500"/>
                <a:gd name="connsiteY59" fmla="*/ 324622 h 458547"/>
                <a:gd name="connsiteX60" fmla="*/ 142221 w 379500"/>
                <a:gd name="connsiteY60" fmla="*/ 336268 h 458547"/>
                <a:gd name="connsiteX61" fmla="*/ 41778 w 379500"/>
                <a:gd name="connsiteY61" fmla="*/ 451269 h 458547"/>
                <a:gd name="connsiteX62" fmla="*/ 28676 w 379500"/>
                <a:gd name="connsiteY62" fmla="*/ 454180 h 458547"/>
                <a:gd name="connsiteX63" fmla="*/ 22854 w 379500"/>
                <a:gd name="connsiteY63" fmla="*/ 454180 h 458547"/>
                <a:gd name="connsiteX64" fmla="*/ 18486 w 379500"/>
                <a:gd name="connsiteY64" fmla="*/ 451269 h 458547"/>
                <a:gd name="connsiteX65" fmla="*/ 5385 w 379500"/>
                <a:gd name="connsiteY65" fmla="*/ 442534 h 458547"/>
                <a:gd name="connsiteX66" fmla="*/ 6841 w 379500"/>
                <a:gd name="connsiteY66" fmla="*/ 410509 h 458547"/>
                <a:gd name="connsiteX67" fmla="*/ 85449 w 379500"/>
                <a:gd name="connsiteY67" fmla="*/ 314432 h 458547"/>
                <a:gd name="connsiteX68" fmla="*/ 107284 w 379500"/>
                <a:gd name="connsiteY68" fmla="*/ 190698 h 458547"/>
                <a:gd name="connsiteX69" fmla="*/ 118930 w 379500"/>
                <a:gd name="connsiteY69" fmla="*/ 138292 h 458547"/>
                <a:gd name="connsiteX70" fmla="*/ 128034 w 379500"/>
                <a:gd name="connsiteY70" fmla="*/ 93909 h 458547"/>
                <a:gd name="connsiteX71" fmla="*/ 147870 w 379500"/>
                <a:gd name="connsiteY71" fmla="*/ 16944 h 458547"/>
                <a:gd name="connsiteX72" fmla="*/ 169879 w 379500"/>
                <a:gd name="connsiteY72" fmla="*/ 4367 h 458547"/>
                <a:gd name="connsiteX73" fmla="*/ 172791 w 379500"/>
                <a:gd name="connsiteY73" fmla="*/ 2912 h 458547"/>
                <a:gd name="connsiteX74" fmla="*/ 180069 w 379500"/>
                <a:gd name="connsiteY74" fmla="*/ 1456 h 458547"/>
                <a:gd name="connsiteX75" fmla="*/ 191715 w 379500"/>
                <a:gd name="connsiteY75" fmla="*/ 0 h 458547"/>
                <a:gd name="connsiteX0" fmla="*/ 186330 w 374115"/>
                <a:gd name="connsiteY0" fmla="*/ 0 h 458547"/>
                <a:gd name="connsiteX1" fmla="*/ 192153 w 374115"/>
                <a:gd name="connsiteY1" fmla="*/ 0 h 458547"/>
                <a:gd name="connsiteX2" fmla="*/ 197975 w 374115"/>
                <a:gd name="connsiteY2" fmla="*/ 1456 h 458547"/>
                <a:gd name="connsiteX3" fmla="*/ 211077 w 374115"/>
                <a:gd name="connsiteY3" fmla="*/ 7279 h 458547"/>
                <a:gd name="connsiteX4" fmla="*/ 219811 w 374115"/>
                <a:gd name="connsiteY4" fmla="*/ 13102 h 458547"/>
                <a:gd name="connsiteX5" fmla="*/ 228545 w 374115"/>
                <a:gd name="connsiteY5" fmla="*/ 20380 h 458547"/>
                <a:gd name="connsiteX6" fmla="*/ 232912 w 374115"/>
                <a:gd name="connsiteY6" fmla="*/ 24747 h 458547"/>
                <a:gd name="connsiteX7" fmla="*/ 241646 w 374115"/>
                <a:gd name="connsiteY7" fmla="*/ 42216 h 458547"/>
                <a:gd name="connsiteX8" fmla="*/ 259115 w 374115"/>
                <a:gd name="connsiteY8" fmla="*/ 77153 h 458547"/>
                <a:gd name="connsiteX9" fmla="*/ 283862 w 374115"/>
                <a:gd name="connsiteY9" fmla="*/ 128102 h 458547"/>
                <a:gd name="connsiteX10" fmla="*/ 285317 w 374115"/>
                <a:gd name="connsiteY10" fmla="*/ 129558 h 458547"/>
                <a:gd name="connsiteX11" fmla="*/ 353735 w 374115"/>
                <a:gd name="connsiteY11" fmla="*/ 141204 h 458547"/>
                <a:gd name="connsiteX12" fmla="*/ 361014 w 374115"/>
                <a:gd name="connsiteY12" fmla="*/ 144115 h 458547"/>
                <a:gd name="connsiteX13" fmla="*/ 368292 w 374115"/>
                <a:gd name="connsiteY13" fmla="*/ 148482 h 458547"/>
                <a:gd name="connsiteX14" fmla="*/ 372659 w 374115"/>
                <a:gd name="connsiteY14" fmla="*/ 155761 h 458547"/>
                <a:gd name="connsiteX15" fmla="*/ 374115 w 374115"/>
                <a:gd name="connsiteY15" fmla="*/ 164495 h 458547"/>
                <a:gd name="connsiteX16" fmla="*/ 374115 w 374115"/>
                <a:gd name="connsiteY16" fmla="*/ 170318 h 458547"/>
                <a:gd name="connsiteX17" fmla="*/ 372659 w 374115"/>
                <a:gd name="connsiteY17" fmla="*/ 174685 h 458547"/>
                <a:gd name="connsiteX18" fmla="*/ 371204 w 374115"/>
                <a:gd name="connsiteY18" fmla="*/ 179052 h 458547"/>
                <a:gd name="connsiteX19" fmla="*/ 368292 w 374115"/>
                <a:gd name="connsiteY19" fmla="*/ 181963 h 458547"/>
                <a:gd name="connsiteX20" fmla="*/ 363925 w 374115"/>
                <a:gd name="connsiteY20" fmla="*/ 184875 h 458547"/>
                <a:gd name="connsiteX21" fmla="*/ 359558 w 374115"/>
                <a:gd name="connsiteY21" fmla="*/ 187786 h 458547"/>
                <a:gd name="connsiteX22" fmla="*/ 355191 w 374115"/>
                <a:gd name="connsiteY22" fmla="*/ 187786 h 458547"/>
                <a:gd name="connsiteX23" fmla="*/ 350824 w 374115"/>
                <a:gd name="connsiteY23" fmla="*/ 189242 h 458547"/>
                <a:gd name="connsiteX24" fmla="*/ 347912 w 374115"/>
                <a:gd name="connsiteY24" fmla="*/ 189242 h 458547"/>
                <a:gd name="connsiteX25" fmla="*/ 260570 w 374115"/>
                <a:gd name="connsiteY25" fmla="*/ 171773 h 458547"/>
                <a:gd name="connsiteX26" fmla="*/ 256203 w 374115"/>
                <a:gd name="connsiteY26" fmla="*/ 168862 h 458547"/>
                <a:gd name="connsiteX27" fmla="*/ 251836 w 374115"/>
                <a:gd name="connsiteY27" fmla="*/ 165951 h 458547"/>
                <a:gd name="connsiteX28" fmla="*/ 246013 w 374115"/>
                <a:gd name="connsiteY28" fmla="*/ 158672 h 458547"/>
                <a:gd name="connsiteX29" fmla="*/ 225634 w 374115"/>
                <a:gd name="connsiteY29" fmla="*/ 116457 h 458547"/>
                <a:gd name="connsiteX30" fmla="*/ 211077 w 374115"/>
                <a:gd name="connsiteY30" fmla="*/ 187786 h 458547"/>
                <a:gd name="connsiteX31" fmla="*/ 279495 w 374115"/>
                <a:gd name="connsiteY31" fmla="*/ 262027 h 458547"/>
                <a:gd name="connsiteX32" fmla="*/ 282406 w 374115"/>
                <a:gd name="connsiteY32" fmla="*/ 263483 h 458547"/>
                <a:gd name="connsiteX33" fmla="*/ 285317 w 374115"/>
                <a:gd name="connsiteY33" fmla="*/ 269306 h 458547"/>
                <a:gd name="connsiteX34" fmla="*/ 288229 w 374115"/>
                <a:gd name="connsiteY34" fmla="*/ 278040 h 458547"/>
                <a:gd name="connsiteX35" fmla="*/ 289684 w 374115"/>
                <a:gd name="connsiteY35" fmla="*/ 292597 h 458547"/>
                <a:gd name="connsiteX36" fmla="*/ 289684 w 374115"/>
                <a:gd name="connsiteY36" fmla="*/ 362471 h 458547"/>
                <a:gd name="connsiteX37" fmla="*/ 289684 w 374115"/>
                <a:gd name="connsiteY37" fmla="*/ 429433 h 458547"/>
                <a:gd name="connsiteX38" fmla="*/ 289684 w 374115"/>
                <a:gd name="connsiteY38" fmla="*/ 430889 h 458547"/>
                <a:gd name="connsiteX39" fmla="*/ 289684 w 374115"/>
                <a:gd name="connsiteY39" fmla="*/ 433800 h 458547"/>
                <a:gd name="connsiteX40" fmla="*/ 288229 w 374115"/>
                <a:gd name="connsiteY40" fmla="*/ 438167 h 458547"/>
                <a:gd name="connsiteX41" fmla="*/ 286773 w 374115"/>
                <a:gd name="connsiteY41" fmla="*/ 443990 h 458547"/>
                <a:gd name="connsiteX42" fmla="*/ 283862 w 374115"/>
                <a:gd name="connsiteY42" fmla="*/ 448357 h 458547"/>
                <a:gd name="connsiteX43" fmla="*/ 279495 w 374115"/>
                <a:gd name="connsiteY43" fmla="*/ 451269 h 458547"/>
                <a:gd name="connsiteX44" fmla="*/ 276583 w 374115"/>
                <a:gd name="connsiteY44" fmla="*/ 454180 h 458547"/>
                <a:gd name="connsiteX45" fmla="*/ 272216 w 374115"/>
                <a:gd name="connsiteY45" fmla="*/ 457092 h 458547"/>
                <a:gd name="connsiteX46" fmla="*/ 266393 w 374115"/>
                <a:gd name="connsiteY46" fmla="*/ 458547 h 458547"/>
                <a:gd name="connsiteX47" fmla="*/ 260570 w 374115"/>
                <a:gd name="connsiteY47" fmla="*/ 458547 h 458547"/>
                <a:gd name="connsiteX48" fmla="*/ 256203 w 374115"/>
                <a:gd name="connsiteY48" fmla="*/ 458547 h 458547"/>
                <a:gd name="connsiteX49" fmla="*/ 250381 w 374115"/>
                <a:gd name="connsiteY49" fmla="*/ 457092 h 458547"/>
                <a:gd name="connsiteX50" fmla="*/ 246013 w 374115"/>
                <a:gd name="connsiteY50" fmla="*/ 454180 h 458547"/>
                <a:gd name="connsiteX51" fmla="*/ 243102 w 374115"/>
                <a:gd name="connsiteY51" fmla="*/ 451269 h 458547"/>
                <a:gd name="connsiteX52" fmla="*/ 238735 w 374115"/>
                <a:gd name="connsiteY52" fmla="*/ 448357 h 458547"/>
                <a:gd name="connsiteX53" fmla="*/ 235824 w 374115"/>
                <a:gd name="connsiteY53" fmla="*/ 443990 h 458547"/>
                <a:gd name="connsiteX54" fmla="*/ 234368 w 374115"/>
                <a:gd name="connsiteY54" fmla="*/ 438167 h 458547"/>
                <a:gd name="connsiteX55" fmla="*/ 232912 w 374115"/>
                <a:gd name="connsiteY55" fmla="*/ 433800 h 458547"/>
                <a:gd name="connsiteX56" fmla="*/ 232912 w 374115"/>
                <a:gd name="connsiteY56" fmla="*/ 307154 h 458547"/>
                <a:gd name="connsiteX57" fmla="*/ 161583 w 374115"/>
                <a:gd name="connsiteY57" fmla="*/ 235824 h 458547"/>
                <a:gd name="connsiteX58" fmla="*/ 148482 w 374115"/>
                <a:gd name="connsiteY58" fmla="*/ 315888 h 458547"/>
                <a:gd name="connsiteX59" fmla="*/ 145570 w 374115"/>
                <a:gd name="connsiteY59" fmla="*/ 324622 h 458547"/>
                <a:gd name="connsiteX60" fmla="*/ 136836 w 374115"/>
                <a:gd name="connsiteY60" fmla="*/ 336268 h 458547"/>
                <a:gd name="connsiteX61" fmla="*/ 36393 w 374115"/>
                <a:gd name="connsiteY61" fmla="*/ 451269 h 458547"/>
                <a:gd name="connsiteX62" fmla="*/ 23291 w 374115"/>
                <a:gd name="connsiteY62" fmla="*/ 454180 h 458547"/>
                <a:gd name="connsiteX63" fmla="*/ 17469 w 374115"/>
                <a:gd name="connsiteY63" fmla="*/ 454180 h 458547"/>
                <a:gd name="connsiteX64" fmla="*/ 13101 w 374115"/>
                <a:gd name="connsiteY64" fmla="*/ 451269 h 458547"/>
                <a:gd name="connsiteX65" fmla="*/ 0 w 374115"/>
                <a:gd name="connsiteY65" fmla="*/ 442534 h 458547"/>
                <a:gd name="connsiteX66" fmla="*/ 80064 w 374115"/>
                <a:gd name="connsiteY66" fmla="*/ 314432 h 458547"/>
                <a:gd name="connsiteX67" fmla="*/ 101899 w 374115"/>
                <a:gd name="connsiteY67" fmla="*/ 190698 h 458547"/>
                <a:gd name="connsiteX68" fmla="*/ 113545 w 374115"/>
                <a:gd name="connsiteY68" fmla="*/ 138292 h 458547"/>
                <a:gd name="connsiteX69" fmla="*/ 122649 w 374115"/>
                <a:gd name="connsiteY69" fmla="*/ 93909 h 458547"/>
                <a:gd name="connsiteX70" fmla="*/ 142485 w 374115"/>
                <a:gd name="connsiteY70" fmla="*/ 16944 h 458547"/>
                <a:gd name="connsiteX71" fmla="*/ 164494 w 374115"/>
                <a:gd name="connsiteY71" fmla="*/ 4367 h 458547"/>
                <a:gd name="connsiteX72" fmla="*/ 167406 w 374115"/>
                <a:gd name="connsiteY72" fmla="*/ 2912 h 458547"/>
                <a:gd name="connsiteX73" fmla="*/ 174684 w 374115"/>
                <a:gd name="connsiteY73" fmla="*/ 1456 h 458547"/>
                <a:gd name="connsiteX74" fmla="*/ 186330 w 374115"/>
                <a:gd name="connsiteY74" fmla="*/ 0 h 458547"/>
                <a:gd name="connsiteX0" fmla="*/ 192091 w 379876"/>
                <a:gd name="connsiteY0" fmla="*/ 0 h 458547"/>
                <a:gd name="connsiteX1" fmla="*/ 197914 w 379876"/>
                <a:gd name="connsiteY1" fmla="*/ 0 h 458547"/>
                <a:gd name="connsiteX2" fmla="*/ 203736 w 379876"/>
                <a:gd name="connsiteY2" fmla="*/ 1456 h 458547"/>
                <a:gd name="connsiteX3" fmla="*/ 216838 w 379876"/>
                <a:gd name="connsiteY3" fmla="*/ 7279 h 458547"/>
                <a:gd name="connsiteX4" fmla="*/ 225572 w 379876"/>
                <a:gd name="connsiteY4" fmla="*/ 13102 h 458547"/>
                <a:gd name="connsiteX5" fmla="*/ 234306 w 379876"/>
                <a:gd name="connsiteY5" fmla="*/ 20380 h 458547"/>
                <a:gd name="connsiteX6" fmla="*/ 238673 w 379876"/>
                <a:gd name="connsiteY6" fmla="*/ 24747 h 458547"/>
                <a:gd name="connsiteX7" fmla="*/ 247407 w 379876"/>
                <a:gd name="connsiteY7" fmla="*/ 42216 h 458547"/>
                <a:gd name="connsiteX8" fmla="*/ 264876 w 379876"/>
                <a:gd name="connsiteY8" fmla="*/ 77153 h 458547"/>
                <a:gd name="connsiteX9" fmla="*/ 289623 w 379876"/>
                <a:gd name="connsiteY9" fmla="*/ 128102 h 458547"/>
                <a:gd name="connsiteX10" fmla="*/ 291078 w 379876"/>
                <a:gd name="connsiteY10" fmla="*/ 129558 h 458547"/>
                <a:gd name="connsiteX11" fmla="*/ 359496 w 379876"/>
                <a:gd name="connsiteY11" fmla="*/ 141204 h 458547"/>
                <a:gd name="connsiteX12" fmla="*/ 366775 w 379876"/>
                <a:gd name="connsiteY12" fmla="*/ 144115 h 458547"/>
                <a:gd name="connsiteX13" fmla="*/ 374053 w 379876"/>
                <a:gd name="connsiteY13" fmla="*/ 148482 h 458547"/>
                <a:gd name="connsiteX14" fmla="*/ 378420 w 379876"/>
                <a:gd name="connsiteY14" fmla="*/ 155761 h 458547"/>
                <a:gd name="connsiteX15" fmla="*/ 379876 w 379876"/>
                <a:gd name="connsiteY15" fmla="*/ 164495 h 458547"/>
                <a:gd name="connsiteX16" fmla="*/ 379876 w 379876"/>
                <a:gd name="connsiteY16" fmla="*/ 170318 h 458547"/>
                <a:gd name="connsiteX17" fmla="*/ 378420 w 379876"/>
                <a:gd name="connsiteY17" fmla="*/ 174685 h 458547"/>
                <a:gd name="connsiteX18" fmla="*/ 376965 w 379876"/>
                <a:gd name="connsiteY18" fmla="*/ 179052 h 458547"/>
                <a:gd name="connsiteX19" fmla="*/ 374053 w 379876"/>
                <a:gd name="connsiteY19" fmla="*/ 181963 h 458547"/>
                <a:gd name="connsiteX20" fmla="*/ 369686 w 379876"/>
                <a:gd name="connsiteY20" fmla="*/ 184875 h 458547"/>
                <a:gd name="connsiteX21" fmla="*/ 365319 w 379876"/>
                <a:gd name="connsiteY21" fmla="*/ 187786 h 458547"/>
                <a:gd name="connsiteX22" fmla="*/ 360952 w 379876"/>
                <a:gd name="connsiteY22" fmla="*/ 187786 h 458547"/>
                <a:gd name="connsiteX23" fmla="*/ 356585 w 379876"/>
                <a:gd name="connsiteY23" fmla="*/ 189242 h 458547"/>
                <a:gd name="connsiteX24" fmla="*/ 353673 w 379876"/>
                <a:gd name="connsiteY24" fmla="*/ 189242 h 458547"/>
                <a:gd name="connsiteX25" fmla="*/ 266331 w 379876"/>
                <a:gd name="connsiteY25" fmla="*/ 171773 h 458547"/>
                <a:gd name="connsiteX26" fmla="*/ 261964 w 379876"/>
                <a:gd name="connsiteY26" fmla="*/ 168862 h 458547"/>
                <a:gd name="connsiteX27" fmla="*/ 257597 w 379876"/>
                <a:gd name="connsiteY27" fmla="*/ 165951 h 458547"/>
                <a:gd name="connsiteX28" fmla="*/ 251774 w 379876"/>
                <a:gd name="connsiteY28" fmla="*/ 158672 h 458547"/>
                <a:gd name="connsiteX29" fmla="*/ 231395 w 379876"/>
                <a:gd name="connsiteY29" fmla="*/ 116457 h 458547"/>
                <a:gd name="connsiteX30" fmla="*/ 216838 w 379876"/>
                <a:gd name="connsiteY30" fmla="*/ 187786 h 458547"/>
                <a:gd name="connsiteX31" fmla="*/ 285256 w 379876"/>
                <a:gd name="connsiteY31" fmla="*/ 262027 h 458547"/>
                <a:gd name="connsiteX32" fmla="*/ 288167 w 379876"/>
                <a:gd name="connsiteY32" fmla="*/ 263483 h 458547"/>
                <a:gd name="connsiteX33" fmla="*/ 291078 w 379876"/>
                <a:gd name="connsiteY33" fmla="*/ 269306 h 458547"/>
                <a:gd name="connsiteX34" fmla="*/ 293990 w 379876"/>
                <a:gd name="connsiteY34" fmla="*/ 278040 h 458547"/>
                <a:gd name="connsiteX35" fmla="*/ 295445 w 379876"/>
                <a:gd name="connsiteY35" fmla="*/ 292597 h 458547"/>
                <a:gd name="connsiteX36" fmla="*/ 295445 w 379876"/>
                <a:gd name="connsiteY36" fmla="*/ 362471 h 458547"/>
                <a:gd name="connsiteX37" fmla="*/ 295445 w 379876"/>
                <a:gd name="connsiteY37" fmla="*/ 429433 h 458547"/>
                <a:gd name="connsiteX38" fmla="*/ 295445 w 379876"/>
                <a:gd name="connsiteY38" fmla="*/ 430889 h 458547"/>
                <a:gd name="connsiteX39" fmla="*/ 295445 w 379876"/>
                <a:gd name="connsiteY39" fmla="*/ 433800 h 458547"/>
                <a:gd name="connsiteX40" fmla="*/ 293990 w 379876"/>
                <a:gd name="connsiteY40" fmla="*/ 438167 h 458547"/>
                <a:gd name="connsiteX41" fmla="*/ 292534 w 379876"/>
                <a:gd name="connsiteY41" fmla="*/ 443990 h 458547"/>
                <a:gd name="connsiteX42" fmla="*/ 289623 w 379876"/>
                <a:gd name="connsiteY42" fmla="*/ 448357 h 458547"/>
                <a:gd name="connsiteX43" fmla="*/ 285256 w 379876"/>
                <a:gd name="connsiteY43" fmla="*/ 451269 h 458547"/>
                <a:gd name="connsiteX44" fmla="*/ 282344 w 379876"/>
                <a:gd name="connsiteY44" fmla="*/ 454180 h 458547"/>
                <a:gd name="connsiteX45" fmla="*/ 277977 w 379876"/>
                <a:gd name="connsiteY45" fmla="*/ 457092 h 458547"/>
                <a:gd name="connsiteX46" fmla="*/ 272154 w 379876"/>
                <a:gd name="connsiteY46" fmla="*/ 458547 h 458547"/>
                <a:gd name="connsiteX47" fmla="*/ 266331 w 379876"/>
                <a:gd name="connsiteY47" fmla="*/ 458547 h 458547"/>
                <a:gd name="connsiteX48" fmla="*/ 261964 w 379876"/>
                <a:gd name="connsiteY48" fmla="*/ 458547 h 458547"/>
                <a:gd name="connsiteX49" fmla="*/ 256142 w 379876"/>
                <a:gd name="connsiteY49" fmla="*/ 457092 h 458547"/>
                <a:gd name="connsiteX50" fmla="*/ 251774 w 379876"/>
                <a:gd name="connsiteY50" fmla="*/ 454180 h 458547"/>
                <a:gd name="connsiteX51" fmla="*/ 248863 w 379876"/>
                <a:gd name="connsiteY51" fmla="*/ 451269 h 458547"/>
                <a:gd name="connsiteX52" fmla="*/ 244496 w 379876"/>
                <a:gd name="connsiteY52" fmla="*/ 448357 h 458547"/>
                <a:gd name="connsiteX53" fmla="*/ 241585 w 379876"/>
                <a:gd name="connsiteY53" fmla="*/ 443990 h 458547"/>
                <a:gd name="connsiteX54" fmla="*/ 240129 w 379876"/>
                <a:gd name="connsiteY54" fmla="*/ 438167 h 458547"/>
                <a:gd name="connsiteX55" fmla="*/ 238673 w 379876"/>
                <a:gd name="connsiteY55" fmla="*/ 433800 h 458547"/>
                <a:gd name="connsiteX56" fmla="*/ 238673 w 379876"/>
                <a:gd name="connsiteY56" fmla="*/ 307154 h 458547"/>
                <a:gd name="connsiteX57" fmla="*/ 167344 w 379876"/>
                <a:gd name="connsiteY57" fmla="*/ 235824 h 458547"/>
                <a:gd name="connsiteX58" fmla="*/ 154243 w 379876"/>
                <a:gd name="connsiteY58" fmla="*/ 315888 h 458547"/>
                <a:gd name="connsiteX59" fmla="*/ 151331 w 379876"/>
                <a:gd name="connsiteY59" fmla="*/ 324622 h 458547"/>
                <a:gd name="connsiteX60" fmla="*/ 142597 w 379876"/>
                <a:gd name="connsiteY60" fmla="*/ 336268 h 458547"/>
                <a:gd name="connsiteX61" fmla="*/ 42154 w 379876"/>
                <a:gd name="connsiteY61" fmla="*/ 451269 h 458547"/>
                <a:gd name="connsiteX62" fmla="*/ 29052 w 379876"/>
                <a:gd name="connsiteY62" fmla="*/ 454180 h 458547"/>
                <a:gd name="connsiteX63" fmla="*/ 23230 w 379876"/>
                <a:gd name="connsiteY63" fmla="*/ 454180 h 458547"/>
                <a:gd name="connsiteX64" fmla="*/ 18862 w 379876"/>
                <a:gd name="connsiteY64" fmla="*/ 451269 h 458547"/>
                <a:gd name="connsiteX65" fmla="*/ 5761 w 379876"/>
                <a:gd name="connsiteY65" fmla="*/ 442534 h 458547"/>
                <a:gd name="connsiteX66" fmla="*/ 6694 w 379876"/>
                <a:gd name="connsiteY66" fmla="*/ 436290 h 458547"/>
                <a:gd name="connsiteX67" fmla="*/ 85825 w 379876"/>
                <a:gd name="connsiteY67" fmla="*/ 314432 h 458547"/>
                <a:gd name="connsiteX68" fmla="*/ 107660 w 379876"/>
                <a:gd name="connsiteY68" fmla="*/ 190698 h 458547"/>
                <a:gd name="connsiteX69" fmla="*/ 119306 w 379876"/>
                <a:gd name="connsiteY69" fmla="*/ 138292 h 458547"/>
                <a:gd name="connsiteX70" fmla="*/ 128410 w 379876"/>
                <a:gd name="connsiteY70" fmla="*/ 93909 h 458547"/>
                <a:gd name="connsiteX71" fmla="*/ 148246 w 379876"/>
                <a:gd name="connsiteY71" fmla="*/ 16944 h 458547"/>
                <a:gd name="connsiteX72" fmla="*/ 170255 w 379876"/>
                <a:gd name="connsiteY72" fmla="*/ 4367 h 458547"/>
                <a:gd name="connsiteX73" fmla="*/ 173167 w 379876"/>
                <a:gd name="connsiteY73" fmla="*/ 2912 h 458547"/>
                <a:gd name="connsiteX74" fmla="*/ 180445 w 379876"/>
                <a:gd name="connsiteY74" fmla="*/ 1456 h 458547"/>
                <a:gd name="connsiteX75" fmla="*/ 192091 w 379876"/>
                <a:gd name="connsiteY75" fmla="*/ 0 h 458547"/>
                <a:gd name="connsiteX0" fmla="*/ 192091 w 379876"/>
                <a:gd name="connsiteY0" fmla="*/ 0 h 458547"/>
                <a:gd name="connsiteX1" fmla="*/ 197914 w 379876"/>
                <a:gd name="connsiteY1" fmla="*/ 0 h 458547"/>
                <a:gd name="connsiteX2" fmla="*/ 203736 w 379876"/>
                <a:gd name="connsiteY2" fmla="*/ 1456 h 458547"/>
                <a:gd name="connsiteX3" fmla="*/ 216838 w 379876"/>
                <a:gd name="connsiteY3" fmla="*/ 7279 h 458547"/>
                <a:gd name="connsiteX4" fmla="*/ 225572 w 379876"/>
                <a:gd name="connsiteY4" fmla="*/ 13102 h 458547"/>
                <a:gd name="connsiteX5" fmla="*/ 234306 w 379876"/>
                <a:gd name="connsiteY5" fmla="*/ 20380 h 458547"/>
                <a:gd name="connsiteX6" fmla="*/ 238673 w 379876"/>
                <a:gd name="connsiteY6" fmla="*/ 24747 h 458547"/>
                <a:gd name="connsiteX7" fmla="*/ 247407 w 379876"/>
                <a:gd name="connsiteY7" fmla="*/ 42216 h 458547"/>
                <a:gd name="connsiteX8" fmla="*/ 264876 w 379876"/>
                <a:gd name="connsiteY8" fmla="*/ 77153 h 458547"/>
                <a:gd name="connsiteX9" fmla="*/ 289623 w 379876"/>
                <a:gd name="connsiteY9" fmla="*/ 128102 h 458547"/>
                <a:gd name="connsiteX10" fmla="*/ 291078 w 379876"/>
                <a:gd name="connsiteY10" fmla="*/ 129558 h 458547"/>
                <a:gd name="connsiteX11" fmla="*/ 359496 w 379876"/>
                <a:gd name="connsiteY11" fmla="*/ 141204 h 458547"/>
                <a:gd name="connsiteX12" fmla="*/ 366775 w 379876"/>
                <a:gd name="connsiteY12" fmla="*/ 144115 h 458547"/>
                <a:gd name="connsiteX13" fmla="*/ 374053 w 379876"/>
                <a:gd name="connsiteY13" fmla="*/ 148482 h 458547"/>
                <a:gd name="connsiteX14" fmla="*/ 378420 w 379876"/>
                <a:gd name="connsiteY14" fmla="*/ 155761 h 458547"/>
                <a:gd name="connsiteX15" fmla="*/ 379876 w 379876"/>
                <a:gd name="connsiteY15" fmla="*/ 164495 h 458547"/>
                <a:gd name="connsiteX16" fmla="*/ 379876 w 379876"/>
                <a:gd name="connsiteY16" fmla="*/ 170318 h 458547"/>
                <a:gd name="connsiteX17" fmla="*/ 378420 w 379876"/>
                <a:gd name="connsiteY17" fmla="*/ 174685 h 458547"/>
                <a:gd name="connsiteX18" fmla="*/ 376965 w 379876"/>
                <a:gd name="connsiteY18" fmla="*/ 179052 h 458547"/>
                <a:gd name="connsiteX19" fmla="*/ 374053 w 379876"/>
                <a:gd name="connsiteY19" fmla="*/ 181963 h 458547"/>
                <a:gd name="connsiteX20" fmla="*/ 369686 w 379876"/>
                <a:gd name="connsiteY20" fmla="*/ 184875 h 458547"/>
                <a:gd name="connsiteX21" fmla="*/ 365319 w 379876"/>
                <a:gd name="connsiteY21" fmla="*/ 187786 h 458547"/>
                <a:gd name="connsiteX22" fmla="*/ 360952 w 379876"/>
                <a:gd name="connsiteY22" fmla="*/ 187786 h 458547"/>
                <a:gd name="connsiteX23" fmla="*/ 356585 w 379876"/>
                <a:gd name="connsiteY23" fmla="*/ 189242 h 458547"/>
                <a:gd name="connsiteX24" fmla="*/ 353673 w 379876"/>
                <a:gd name="connsiteY24" fmla="*/ 189242 h 458547"/>
                <a:gd name="connsiteX25" fmla="*/ 266331 w 379876"/>
                <a:gd name="connsiteY25" fmla="*/ 171773 h 458547"/>
                <a:gd name="connsiteX26" fmla="*/ 261964 w 379876"/>
                <a:gd name="connsiteY26" fmla="*/ 168862 h 458547"/>
                <a:gd name="connsiteX27" fmla="*/ 257597 w 379876"/>
                <a:gd name="connsiteY27" fmla="*/ 165951 h 458547"/>
                <a:gd name="connsiteX28" fmla="*/ 251774 w 379876"/>
                <a:gd name="connsiteY28" fmla="*/ 158672 h 458547"/>
                <a:gd name="connsiteX29" fmla="*/ 231395 w 379876"/>
                <a:gd name="connsiteY29" fmla="*/ 116457 h 458547"/>
                <a:gd name="connsiteX30" fmla="*/ 216838 w 379876"/>
                <a:gd name="connsiteY30" fmla="*/ 187786 h 458547"/>
                <a:gd name="connsiteX31" fmla="*/ 285256 w 379876"/>
                <a:gd name="connsiteY31" fmla="*/ 262027 h 458547"/>
                <a:gd name="connsiteX32" fmla="*/ 288167 w 379876"/>
                <a:gd name="connsiteY32" fmla="*/ 263483 h 458547"/>
                <a:gd name="connsiteX33" fmla="*/ 291078 w 379876"/>
                <a:gd name="connsiteY33" fmla="*/ 269306 h 458547"/>
                <a:gd name="connsiteX34" fmla="*/ 293990 w 379876"/>
                <a:gd name="connsiteY34" fmla="*/ 278040 h 458547"/>
                <a:gd name="connsiteX35" fmla="*/ 295445 w 379876"/>
                <a:gd name="connsiteY35" fmla="*/ 292597 h 458547"/>
                <a:gd name="connsiteX36" fmla="*/ 295445 w 379876"/>
                <a:gd name="connsiteY36" fmla="*/ 362471 h 458547"/>
                <a:gd name="connsiteX37" fmla="*/ 295445 w 379876"/>
                <a:gd name="connsiteY37" fmla="*/ 429433 h 458547"/>
                <a:gd name="connsiteX38" fmla="*/ 295445 w 379876"/>
                <a:gd name="connsiteY38" fmla="*/ 430889 h 458547"/>
                <a:gd name="connsiteX39" fmla="*/ 295445 w 379876"/>
                <a:gd name="connsiteY39" fmla="*/ 433800 h 458547"/>
                <a:gd name="connsiteX40" fmla="*/ 293990 w 379876"/>
                <a:gd name="connsiteY40" fmla="*/ 438167 h 458547"/>
                <a:gd name="connsiteX41" fmla="*/ 292534 w 379876"/>
                <a:gd name="connsiteY41" fmla="*/ 443990 h 458547"/>
                <a:gd name="connsiteX42" fmla="*/ 289623 w 379876"/>
                <a:gd name="connsiteY42" fmla="*/ 448357 h 458547"/>
                <a:gd name="connsiteX43" fmla="*/ 285256 w 379876"/>
                <a:gd name="connsiteY43" fmla="*/ 451269 h 458547"/>
                <a:gd name="connsiteX44" fmla="*/ 282344 w 379876"/>
                <a:gd name="connsiteY44" fmla="*/ 454180 h 458547"/>
                <a:gd name="connsiteX45" fmla="*/ 277977 w 379876"/>
                <a:gd name="connsiteY45" fmla="*/ 457092 h 458547"/>
                <a:gd name="connsiteX46" fmla="*/ 272154 w 379876"/>
                <a:gd name="connsiteY46" fmla="*/ 458547 h 458547"/>
                <a:gd name="connsiteX47" fmla="*/ 266331 w 379876"/>
                <a:gd name="connsiteY47" fmla="*/ 458547 h 458547"/>
                <a:gd name="connsiteX48" fmla="*/ 261964 w 379876"/>
                <a:gd name="connsiteY48" fmla="*/ 458547 h 458547"/>
                <a:gd name="connsiteX49" fmla="*/ 256142 w 379876"/>
                <a:gd name="connsiteY49" fmla="*/ 457092 h 458547"/>
                <a:gd name="connsiteX50" fmla="*/ 251774 w 379876"/>
                <a:gd name="connsiteY50" fmla="*/ 454180 h 458547"/>
                <a:gd name="connsiteX51" fmla="*/ 248863 w 379876"/>
                <a:gd name="connsiteY51" fmla="*/ 451269 h 458547"/>
                <a:gd name="connsiteX52" fmla="*/ 244496 w 379876"/>
                <a:gd name="connsiteY52" fmla="*/ 448357 h 458547"/>
                <a:gd name="connsiteX53" fmla="*/ 241585 w 379876"/>
                <a:gd name="connsiteY53" fmla="*/ 443990 h 458547"/>
                <a:gd name="connsiteX54" fmla="*/ 240129 w 379876"/>
                <a:gd name="connsiteY54" fmla="*/ 438167 h 458547"/>
                <a:gd name="connsiteX55" fmla="*/ 238673 w 379876"/>
                <a:gd name="connsiteY55" fmla="*/ 433800 h 458547"/>
                <a:gd name="connsiteX56" fmla="*/ 238673 w 379876"/>
                <a:gd name="connsiteY56" fmla="*/ 307154 h 458547"/>
                <a:gd name="connsiteX57" fmla="*/ 167344 w 379876"/>
                <a:gd name="connsiteY57" fmla="*/ 235824 h 458547"/>
                <a:gd name="connsiteX58" fmla="*/ 154243 w 379876"/>
                <a:gd name="connsiteY58" fmla="*/ 315888 h 458547"/>
                <a:gd name="connsiteX59" fmla="*/ 151331 w 379876"/>
                <a:gd name="connsiteY59" fmla="*/ 324622 h 458547"/>
                <a:gd name="connsiteX60" fmla="*/ 142597 w 379876"/>
                <a:gd name="connsiteY60" fmla="*/ 336268 h 458547"/>
                <a:gd name="connsiteX61" fmla="*/ 42154 w 379876"/>
                <a:gd name="connsiteY61" fmla="*/ 451269 h 458547"/>
                <a:gd name="connsiteX62" fmla="*/ 29052 w 379876"/>
                <a:gd name="connsiteY62" fmla="*/ 454180 h 458547"/>
                <a:gd name="connsiteX63" fmla="*/ 23230 w 379876"/>
                <a:gd name="connsiteY63" fmla="*/ 454180 h 458547"/>
                <a:gd name="connsiteX64" fmla="*/ 18862 w 379876"/>
                <a:gd name="connsiteY64" fmla="*/ 451269 h 458547"/>
                <a:gd name="connsiteX65" fmla="*/ 14179 w 379876"/>
                <a:gd name="connsiteY65" fmla="*/ 451260 h 458547"/>
                <a:gd name="connsiteX66" fmla="*/ 5761 w 379876"/>
                <a:gd name="connsiteY66" fmla="*/ 442534 h 458547"/>
                <a:gd name="connsiteX67" fmla="*/ 6694 w 379876"/>
                <a:gd name="connsiteY67" fmla="*/ 436290 h 458547"/>
                <a:gd name="connsiteX68" fmla="*/ 85825 w 379876"/>
                <a:gd name="connsiteY68" fmla="*/ 314432 h 458547"/>
                <a:gd name="connsiteX69" fmla="*/ 107660 w 379876"/>
                <a:gd name="connsiteY69" fmla="*/ 190698 h 458547"/>
                <a:gd name="connsiteX70" fmla="*/ 119306 w 379876"/>
                <a:gd name="connsiteY70" fmla="*/ 138292 h 458547"/>
                <a:gd name="connsiteX71" fmla="*/ 128410 w 379876"/>
                <a:gd name="connsiteY71" fmla="*/ 93909 h 458547"/>
                <a:gd name="connsiteX72" fmla="*/ 148246 w 379876"/>
                <a:gd name="connsiteY72" fmla="*/ 16944 h 458547"/>
                <a:gd name="connsiteX73" fmla="*/ 170255 w 379876"/>
                <a:gd name="connsiteY73" fmla="*/ 4367 h 458547"/>
                <a:gd name="connsiteX74" fmla="*/ 173167 w 379876"/>
                <a:gd name="connsiteY74" fmla="*/ 2912 h 458547"/>
                <a:gd name="connsiteX75" fmla="*/ 180445 w 379876"/>
                <a:gd name="connsiteY75" fmla="*/ 1456 h 458547"/>
                <a:gd name="connsiteX76" fmla="*/ 192091 w 379876"/>
                <a:gd name="connsiteY76" fmla="*/ 0 h 458547"/>
                <a:gd name="connsiteX0" fmla="*/ 192091 w 379876"/>
                <a:gd name="connsiteY0" fmla="*/ 0 h 458547"/>
                <a:gd name="connsiteX1" fmla="*/ 197914 w 379876"/>
                <a:gd name="connsiteY1" fmla="*/ 0 h 458547"/>
                <a:gd name="connsiteX2" fmla="*/ 203736 w 379876"/>
                <a:gd name="connsiteY2" fmla="*/ 1456 h 458547"/>
                <a:gd name="connsiteX3" fmla="*/ 216838 w 379876"/>
                <a:gd name="connsiteY3" fmla="*/ 7279 h 458547"/>
                <a:gd name="connsiteX4" fmla="*/ 225572 w 379876"/>
                <a:gd name="connsiteY4" fmla="*/ 13102 h 458547"/>
                <a:gd name="connsiteX5" fmla="*/ 234306 w 379876"/>
                <a:gd name="connsiteY5" fmla="*/ 20380 h 458547"/>
                <a:gd name="connsiteX6" fmla="*/ 238673 w 379876"/>
                <a:gd name="connsiteY6" fmla="*/ 24747 h 458547"/>
                <a:gd name="connsiteX7" fmla="*/ 247407 w 379876"/>
                <a:gd name="connsiteY7" fmla="*/ 42216 h 458547"/>
                <a:gd name="connsiteX8" fmla="*/ 264876 w 379876"/>
                <a:gd name="connsiteY8" fmla="*/ 77153 h 458547"/>
                <a:gd name="connsiteX9" fmla="*/ 289623 w 379876"/>
                <a:gd name="connsiteY9" fmla="*/ 128102 h 458547"/>
                <a:gd name="connsiteX10" fmla="*/ 291078 w 379876"/>
                <a:gd name="connsiteY10" fmla="*/ 129558 h 458547"/>
                <a:gd name="connsiteX11" fmla="*/ 359496 w 379876"/>
                <a:gd name="connsiteY11" fmla="*/ 141204 h 458547"/>
                <a:gd name="connsiteX12" fmla="*/ 366775 w 379876"/>
                <a:gd name="connsiteY12" fmla="*/ 144115 h 458547"/>
                <a:gd name="connsiteX13" fmla="*/ 374053 w 379876"/>
                <a:gd name="connsiteY13" fmla="*/ 148482 h 458547"/>
                <a:gd name="connsiteX14" fmla="*/ 378420 w 379876"/>
                <a:gd name="connsiteY14" fmla="*/ 155761 h 458547"/>
                <a:gd name="connsiteX15" fmla="*/ 379876 w 379876"/>
                <a:gd name="connsiteY15" fmla="*/ 164495 h 458547"/>
                <a:gd name="connsiteX16" fmla="*/ 379876 w 379876"/>
                <a:gd name="connsiteY16" fmla="*/ 170318 h 458547"/>
                <a:gd name="connsiteX17" fmla="*/ 378420 w 379876"/>
                <a:gd name="connsiteY17" fmla="*/ 174685 h 458547"/>
                <a:gd name="connsiteX18" fmla="*/ 376965 w 379876"/>
                <a:gd name="connsiteY18" fmla="*/ 179052 h 458547"/>
                <a:gd name="connsiteX19" fmla="*/ 374053 w 379876"/>
                <a:gd name="connsiteY19" fmla="*/ 181963 h 458547"/>
                <a:gd name="connsiteX20" fmla="*/ 369686 w 379876"/>
                <a:gd name="connsiteY20" fmla="*/ 184875 h 458547"/>
                <a:gd name="connsiteX21" fmla="*/ 365319 w 379876"/>
                <a:gd name="connsiteY21" fmla="*/ 187786 h 458547"/>
                <a:gd name="connsiteX22" fmla="*/ 360952 w 379876"/>
                <a:gd name="connsiteY22" fmla="*/ 187786 h 458547"/>
                <a:gd name="connsiteX23" fmla="*/ 356585 w 379876"/>
                <a:gd name="connsiteY23" fmla="*/ 189242 h 458547"/>
                <a:gd name="connsiteX24" fmla="*/ 353673 w 379876"/>
                <a:gd name="connsiteY24" fmla="*/ 189242 h 458547"/>
                <a:gd name="connsiteX25" fmla="*/ 266331 w 379876"/>
                <a:gd name="connsiteY25" fmla="*/ 171773 h 458547"/>
                <a:gd name="connsiteX26" fmla="*/ 261964 w 379876"/>
                <a:gd name="connsiteY26" fmla="*/ 168862 h 458547"/>
                <a:gd name="connsiteX27" fmla="*/ 257597 w 379876"/>
                <a:gd name="connsiteY27" fmla="*/ 165951 h 458547"/>
                <a:gd name="connsiteX28" fmla="*/ 251774 w 379876"/>
                <a:gd name="connsiteY28" fmla="*/ 158672 h 458547"/>
                <a:gd name="connsiteX29" fmla="*/ 231395 w 379876"/>
                <a:gd name="connsiteY29" fmla="*/ 116457 h 458547"/>
                <a:gd name="connsiteX30" fmla="*/ 216838 w 379876"/>
                <a:gd name="connsiteY30" fmla="*/ 187786 h 458547"/>
                <a:gd name="connsiteX31" fmla="*/ 285256 w 379876"/>
                <a:gd name="connsiteY31" fmla="*/ 262027 h 458547"/>
                <a:gd name="connsiteX32" fmla="*/ 288167 w 379876"/>
                <a:gd name="connsiteY32" fmla="*/ 263483 h 458547"/>
                <a:gd name="connsiteX33" fmla="*/ 291078 w 379876"/>
                <a:gd name="connsiteY33" fmla="*/ 269306 h 458547"/>
                <a:gd name="connsiteX34" fmla="*/ 293990 w 379876"/>
                <a:gd name="connsiteY34" fmla="*/ 278040 h 458547"/>
                <a:gd name="connsiteX35" fmla="*/ 295445 w 379876"/>
                <a:gd name="connsiteY35" fmla="*/ 292597 h 458547"/>
                <a:gd name="connsiteX36" fmla="*/ 295445 w 379876"/>
                <a:gd name="connsiteY36" fmla="*/ 362471 h 458547"/>
                <a:gd name="connsiteX37" fmla="*/ 295445 w 379876"/>
                <a:gd name="connsiteY37" fmla="*/ 429433 h 458547"/>
                <a:gd name="connsiteX38" fmla="*/ 295445 w 379876"/>
                <a:gd name="connsiteY38" fmla="*/ 430889 h 458547"/>
                <a:gd name="connsiteX39" fmla="*/ 295445 w 379876"/>
                <a:gd name="connsiteY39" fmla="*/ 433800 h 458547"/>
                <a:gd name="connsiteX40" fmla="*/ 293990 w 379876"/>
                <a:gd name="connsiteY40" fmla="*/ 438167 h 458547"/>
                <a:gd name="connsiteX41" fmla="*/ 292534 w 379876"/>
                <a:gd name="connsiteY41" fmla="*/ 443990 h 458547"/>
                <a:gd name="connsiteX42" fmla="*/ 289623 w 379876"/>
                <a:gd name="connsiteY42" fmla="*/ 448357 h 458547"/>
                <a:gd name="connsiteX43" fmla="*/ 285256 w 379876"/>
                <a:gd name="connsiteY43" fmla="*/ 451269 h 458547"/>
                <a:gd name="connsiteX44" fmla="*/ 282344 w 379876"/>
                <a:gd name="connsiteY44" fmla="*/ 454180 h 458547"/>
                <a:gd name="connsiteX45" fmla="*/ 277977 w 379876"/>
                <a:gd name="connsiteY45" fmla="*/ 457092 h 458547"/>
                <a:gd name="connsiteX46" fmla="*/ 272154 w 379876"/>
                <a:gd name="connsiteY46" fmla="*/ 458547 h 458547"/>
                <a:gd name="connsiteX47" fmla="*/ 266331 w 379876"/>
                <a:gd name="connsiteY47" fmla="*/ 458547 h 458547"/>
                <a:gd name="connsiteX48" fmla="*/ 261964 w 379876"/>
                <a:gd name="connsiteY48" fmla="*/ 458547 h 458547"/>
                <a:gd name="connsiteX49" fmla="*/ 256142 w 379876"/>
                <a:gd name="connsiteY49" fmla="*/ 457092 h 458547"/>
                <a:gd name="connsiteX50" fmla="*/ 251774 w 379876"/>
                <a:gd name="connsiteY50" fmla="*/ 454180 h 458547"/>
                <a:gd name="connsiteX51" fmla="*/ 248863 w 379876"/>
                <a:gd name="connsiteY51" fmla="*/ 451269 h 458547"/>
                <a:gd name="connsiteX52" fmla="*/ 244496 w 379876"/>
                <a:gd name="connsiteY52" fmla="*/ 448357 h 458547"/>
                <a:gd name="connsiteX53" fmla="*/ 241585 w 379876"/>
                <a:gd name="connsiteY53" fmla="*/ 443990 h 458547"/>
                <a:gd name="connsiteX54" fmla="*/ 240129 w 379876"/>
                <a:gd name="connsiteY54" fmla="*/ 438167 h 458547"/>
                <a:gd name="connsiteX55" fmla="*/ 238673 w 379876"/>
                <a:gd name="connsiteY55" fmla="*/ 433800 h 458547"/>
                <a:gd name="connsiteX56" fmla="*/ 238673 w 379876"/>
                <a:gd name="connsiteY56" fmla="*/ 307154 h 458547"/>
                <a:gd name="connsiteX57" fmla="*/ 167344 w 379876"/>
                <a:gd name="connsiteY57" fmla="*/ 235824 h 458547"/>
                <a:gd name="connsiteX58" fmla="*/ 154243 w 379876"/>
                <a:gd name="connsiteY58" fmla="*/ 315888 h 458547"/>
                <a:gd name="connsiteX59" fmla="*/ 151331 w 379876"/>
                <a:gd name="connsiteY59" fmla="*/ 324622 h 458547"/>
                <a:gd name="connsiteX60" fmla="*/ 142597 w 379876"/>
                <a:gd name="connsiteY60" fmla="*/ 336268 h 458547"/>
                <a:gd name="connsiteX61" fmla="*/ 42154 w 379876"/>
                <a:gd name="connsiteY61" fmla="*/ 451269 h 458547"/>
                <a:gd name="connsiteX62" fmla="*/ 29052 w 379876"/>
                <a:gd name="connsiteY62" fmla="*/ 454180 h 458547"/>
                <a:gd name="connsiteX63" fmla="*/ 23230 w 379876"/>
                <a:gd name="connsiteY63" fmla="*/ 454180 h 458547"/>
                <a:gd name="connsiteX64" fmla="*/ 18862 w 379876"/>
                <a:gd name="connsiteY64" fmla="*/ 451269 h 458547"/>
                <a:gd name="connsiteX65" fmla="*/ 14179 w 379876"/>
                <a:gd name="connsiteY65" fmla="*/ 451260 h 458547"/>
                <a:gd name="connsiteX66" fmla="*/ 5625 w 379876"/>
                <a:gd name="connsiteY66" fmla="*/ 445913 h 458547"/>
                <a:gd name="connsiteX67" fmla="*/ 5761 w 379876"/>
                <a:gd name="connsiteY67" fmla="*/ 442534 h 458547"/>
                <a:gd name="connsiteX68" fmla="*/ 6694 w 379876"/>
                <a:gd name="connsiteY68" fmla="*/ 436290 h 458547"/>
                <a:gd name="connsiteX69" fmla="*/ 85825 w 379876"/>
                <a:gd name="connsiteY69" fmla="*/ 314432 h 458547"/>
                <a:gd name="connsiteX70" fmla="*/ 107660 w 379876"/>
                <a:gd name="connsiteY70" fmla="*/ 190698 h 458547"/>
                <a:gd name="connsiteX71" fmla="*/ 119306 w 379876"/>
                <a:gd name="connsiteY71" fmla="*/ 138292 h 458547"/>
                <a:gd name="connsiteX72" fmla="*/ 128410 w 379876"/>
                <a:gd name="connsiteY72" fmla="*/ 93909 h 458547"/>
                <a:gd name="connsiteX73" fmla="*/ 148246 w 379876"/>
                <a:gd name="connsiteY73" fmla="*/ 16944 h 458547"/>
                <a:gd name="connsiteX74" fmla="*/ 170255 w 379876"/>
                <a:gd name="connsiteY74" fmla="*/ 4367 h 458547"/>
                <a:gd name="connsiteX75" fmla="*/ 173167 w 379876"/>
                <a:gd name="connsiteY75" fmla="*/ 2912 h 458547"/>
                <a:gd name="connsiteX76" fmla="*/ 180445 w 379876"/>
                <a:gd name="connsiteY76" fmla="*/ 1456 h 458547"/>
                <a:gd name="connsiteX77" fmla="*/ 192091 w 379876"/>
                <a:gd name="connsiteY77" fmla="*/ 0 h 458547"/>
                <a:gd name="connsiteX0" fmla="*/ 186466 w 374251"/>
                <a:gd name="connsiteY0" fmla="*/ 0 h 458547"/>
                <a:gd name="connsiteX1" fmla="*/ 192289 w 374251"/>
                <a:gd name="connsiteY1" fmla="*/ 0 h 458547"/>
                <a:gd name="connsiteX2" fmla="*/ 198111 w 374251"/>
                <a:gd name="connsiteY2" fmla="*/ 1456 h 458547"/>
                <a:gd name="connsiteX3" fmla="*/ 211213 w 374251"/>
                <a:gd name="connsiteY3" fmla="*/ 7279 h 458547"/>
                <a:gd name="connsiteX4" fmla="*/ 219947 w 374251"/>
                <a:gd name="connsiteY4" fmla="*/ 13102 h 458547"/>
                <a:gd name="connsiteX5" fmla="*/ 228681 w 374251"/>
                <a:gd name="connsiteY5" fmla="*/ 20380 h 458547"/>
                <a:gd name="connsiteX6" fmla="*/ 233048 w 374251"/>
                <a:gd name="connsiteY6" fmla="*/ 24747 h 458547"/>
                <a:gd name="connsiteX7" fmla="*/ 241782 w 374251"/>
                <a:gd name="connsiteY7" fmla="*/ 42216 h 458547"/>
                <a:gd name="connsiteX8" fmla="*/ 259251 w 374251"/>
                <a:gd name="connsiteY8" fmla="*/ 77153 h 458547"/>
                <a:gd name="connsiteX9" fmla="*/ 283998 w 374251"/>
                <a:gd name="connsiteY9" fmla="*/ 128102 h 458547"/>
                <a:gd name="connsiteX10" fmla="*/ 285453 w 374251"/>
                <a:gd name="connsiteY10" fmla="*/ 129558 h 458547"/>
                <a:gd name="connsiteX11" fmla="*/ 353871 w 374251"/>
                <a:gd name="connsiteY11" fmla="*/ 141204 h 458547"/>
                <a:gd name="connsiteX12" fmla="*/ 361150 w 374251"/>
                <a:gd name="connsiteY12" fmla="*/ 144115 h 458547"/>
                <a:gd name="connsiteX13" fmla="*/ 368428 w 374251"/>
                <a:gd name="connsiteY13" fmla="*/ 148482 h 458547"/>
                <a:gd name="connsiteX14" fmla="*/ 372795 w 374251"/>
                <a:gd name="connsiteY14" fmla="*/ 155761 h 458547"/>
                <a:gd name="connsiteX15" fmla="*/ 374251 w 374251"/>
                <a:gd name="connsiteY15" fmla="*/ 164495 h 458547"/>
                <a:gd name="connsiteX16" fmla="*/ 374251 w 374251"/>
                <a:gd name="connsiteY16" fmla="*/ 170318 h 458547"/>
                <a:gd name="connsiteX17" fmla="*/ 372795 w 374251"/>
                <a:gd name="connsiteY17" fmla="*/ 174685 h 458547"/>
                <a:gd name="connsiteX18" fmla="*/ 371340 w 374251"/>
                <a:gd name="connsiteY18" fmla="*/ 179052 h 458547"/>
                <a:gd name="connsiteX19" fmla="*/ 368428 w 374251"/>
                <a:gd name="connsiteY19" fmla="*/ 181963 h 458547"/>
                <a:gd name="connsiteX20" fmla="*/ 364061 w 374251"/>
                <a:gd name="connsiteY20" fmla="*/ 184875 h 458547"/>
                <a:gd name="connsiteX21" fmla="*/ 359694 w 374251"/>
                <a:gd name="connsiteY21" fmla="*/ 187786 h 458547"/>
                <a:gd name="connsiteX22" fmla="*/ 355327 w 374251"/>
                <a:gd name="connsiteY22" fmla="*/ 187786 h 458547"/>
                <a:gd name="connsiteX23" fmla="*/ 350960 w 374251"/>
                <a:gd name="connsiteY23" fmla="*/ 189242 h 458547"/>
                <a:gd name="connsiteX24" fmla="*/ 348048 w 374251"/>
                <a:gd name="connsiteY24" fmla="*/ 189242 h 458547"/>
                <a:gd name="connsiteX25" fmla="*/ 260706 w 374251"/>
                <a:gd name="connsiteY25" fmla="*/ 171773 h 458547"/>
                <a:gd name="connsiteX26" fmla="*/ 256339 w 374251"/>
                <a:gd name="connsiteY26" fmla="*/ 168862 h 458547"/>
                <a:gd name="connsiteX27" fmla="*/ 251972 w 374251"/>
                <a:gd name="connsiteY27" fmla="*/ 165951 h 458547"/>
                <a:gd name="connsiteX28" fmla="*/ 246149 w 374251"/>
                <a:gd name="connsiteY28" fmla="*/ 158672 h 458547"/>
                <a:gd name="connsiteX29" fmla="*/ 225770 w 374251"/>
                <a:gd name="connsiteY29" fmla="*/ 116457 h 458547"/>
                <a:gd name="connsiteX30" fmla="*/ 211213 w 374251"/>
                <a:gd name="connsiteY30" fmla="*/ 187786 h 458547"/>
                <a:gd name="connsiteX31" fmla="*/ 279631 w 374251"/>
                <a:gd name="connsiteY31" fmla="*/ 262027 h 458547"/>
                <a:gd name="connsiteX32" fmla="*/ 282542 w 374251"/>
                <a:gd name="connsiteY32" fmla="*/ 263483 h 458547"/>
                <a:gd name="connsiteX33" fmla="*/ 285453 w 374251"/>
                <a:gd name="connsiteY33" fmla="*/ 269306 h 458547"/>
                <a:gd name="connsiteX34" fmla="*/ 288365 w 374251"/>
                <a:gd name="connsiteY34" fmla="*/ 278040 h 458547"/>
                <a:gd name="connsiteX35" fmla="*/ 289820 w 374251"/>
                <a:gd name="connsiteY35" fmla="*/ 292597 h 458547"/>
                <a:gd name="connsiteX36" fmla="*/ 289820 w 374251"/>
                <a:gd name="connsiteY36" fmla="*/ 362471 h 458547"/>
                <a:gd name="connsiteX37" fmla="*/ 289820 w 374251"/>
                <a:gd name="connsiteY37" fmla="*/ 429433 h 458547"/>
                <a:gd name="connsiteX38" fmla="*/ 289820 w 374251"/>
                <a:gd name="connsiteY38" fmla="*/ 430889 h 458547"/>
                <a:gd name="connsiteX39" fmla="*/ 289820 w 374251"/>
                <a:gd name="connsiteY39" fmla="*/ 433800 h 458547"/>
                <a:gd name="connsiteX40" fmla="*/ 288365 w 374251"/>
                <a:gd name="connsiteY40" fmla="*/ 438167 h 458547"/>
                <a:gd name="connsiteX41" fmla="*/ 286909 w 374251"/>
                <a:gd name="connsiteY41" fmla="*/ 443990 h 458547"/>
                <a:gd name="connsiteX42" fmla="*/ 283998 w 374251"/>
                <a:gd name="connsiteY42" fmla="*/ 448357 h 458547"/>
                <a:gd name="connsiteX43" fmla="*/ 279631 w 374251"/>
                <a:gd name="connsiteY43" fmla="*/ 451269 h 458547"/>
                <a:gd name="connsiteX44" fmla="*/ 276719 w 374251"/>
                <a:gd name="connsiteY44" fmla="*/ 454180 h 458547"/>
                <a:gd name="connsiteX45" fmla="*/ 272352 w 374251"/>
                <a:gd name="connsiteY45" fmla="*/ 457092 h 458547"/>
                <a:gd name="connsiteX46" fmla="*/ 266529 w 374251"/>
                <a:gd name="connsiteY46" fmla="*/ 458547 h 458547"/>
                <a:gd name="connsiteX47" fmla="*/ 260706 w 374251"/>
                <a:gd name="connsiteY47" fmla="*/ 458547 h 458547"/>
                <a:gd name="connsiteX48" fmla="*/ 256339 w 374251"/>
                <a:gd name="connsiteY48" fmla="*/ 458547 h 458547"/>
                <a:gd name="connsiteX49" fmla="*/ 250517 w 374251"/>
                <a:gd name="connsiteY49" fmla="*/ 457092 h 458547"/>
                <a:gd name="connsiteX50" fmla="*/ 246149 w 374251"/>
                <a:gd name="connsiteY50" fmla="*/ 454180 h 458547"/>
                <a:gd name="connsiteX51" fmla="*/ 243238 w 374251"/>
                <a:gd name="connsiteY51" fmla="*/ 451269 h 458547"/>
                <a:gd name="connsiteX52" fmla="*/ 238871 w 374251"/>
                <a:gd name="connsiteY52" fmla="*/ 448357 h 458547"/>
                <a:gd name="connsiteX53" fmla="*/ 235960 w 374251"/>
                <a:gd name="connsiteY53" fmla="*/ 443990 h 458547"/>
                <a:gd name="connsiteX54" fmla="*/ 234504 w 374251"/>
                <a:gd name="connsiteY54" fmla="*/ 438167 h 458547"/>
                <a:gd name="connsiteX55" fmla="*/ 233048 w 374251"/>
                <a:gd name="connsiteY55" fmla="*/ 433800 h 458547"/>
                <a:gd name="connsiteX56" fmla="*/ 233048 w 374251"/>
                <a:gd name="connsiteY56" fmla="*/ 307154 h 458547"/>
                <a:gd name="connsiteX57" fmla="*/ 161719 w 374251"/>
                <a:gd name="connsiteY57" fmla="*/ 235824 h 458547"/>
                <a:gd name="connsiteX58" fmla="*/ 148618 w 374251"/>
                <a:gd name="connsiteY58" fmla="*/ 315888 h 458547"/>
                <a:gd name="connsiteX59" fmla="*/ 145706 w 374251"/>
                <a:gd name="connsiteY59" fmla="*/ 324622 h 458547"/>
                <a:gd name="connsiteX60" fmla="*/ 136972 w 374251"/>
                <a:gd name="connsiteY60" fmla="*/ 336268 h 458547"/>
                <a:gd name="connsiteX61" fmla="*/ 36529 w 374251"/>
                <a:gd name="connsiteY61" fmla="*/ 451269 h 458547"/>
                <a:gd name="connsiteX62" fmla="*/ 23427 w 374251"/>
                <a:gd name="connsiteY62" fmla="*/ 454180 h 458547"/>
                <a:gd name="connsiteX63" fmla="*/ 17605 w 374251"/>
                <a:gd name="connsiteY63" fmla="*/ 454180 h 458547"/>
                <a:gd name="connsiteX64" fmla="*/ 13237 w 374251"/>
                <a:gd name="connsiteY64" fmla="*/ 451269 h 458547"/>
                <a:gd name="connsiteX65" fmla="*/ 8554 w 374251"/>
                <a:gd name="connsiteY65" fmla="*/ 451260 h 458547"/>
                <a:gd name="connsiteX66" fmla="*/ 0 w 374251"/>
                <a:gd name="connsiteY66" fmla="*/ 445913 h 458547"/>
                <a:gd name="connsiteX67" fmla="*/ 136 w 374251"/>
                <a:gd name="connsiteY67" fmla="*/ 442534 h 458547"/>
                <a:gd name="connsiteX68" fmla="*/ 80200 w 374251"/>
                <a:gd name="connsiteY68" fmla="*/ 314432 h 458547"/>
                <a:gd name="connsiteX69" fmla="*/ 102035 w 374251"/>
                <a:gd name="connsiteY69" fmla="*/ 190698 h 458547"/>
                <a:gd name="connsiteX70" fmla="*/ 113681 w 374251"/>
                <a:gd name="connsiteY70" fmla="*/ 138292 h 458547"/>
                <a:gd name="connsiteX71" fmla="*/ 122785 w 374251"/>
                <a:gd name="connsiteY71" fmla="*/ 93909 h 458547"/>
                <a:gd name="connsiteX72" fmla="*/ 142621 w 374251"/>
                <a:gd name="connsiteY72" fmla="*/ 16944 h 458547"/>
                <a:gd name="connsiteX73" fmla="*/ 164630 w 374251"/>
                <a:gd name="connsiteY73" fmla="*/ 4367 h 458547"/>
                <a:gd name="connsiteX74" fmla="*/ 167542 w 374251"/>
                <a:gd name="connsiteY74" fmla="*/ 2912 h 458547"/>
                <a:gd name="connsiteX75" fmla="*/ 174820 w 374251"/>
                <a:gd name="connsiteY75" fmla="*/ 1456 h 458547"/>
                <a:gd name="connsiteX76" fmla="*/ 186466 w 374251"/>
                <a:gd name="connsiteY76" fmla="*/ 0 h 458547"/>
                <a:gd name="connsiteX0" fmla="*/ 186466 w 374251"/>
                <a:gd name="connsiteY0" fmla="*/ 0 h 458547"/>
                <a:gd name="connsiteX1" fmla="*/ 192289 w 374251"/>
                <a:gd name="connsiteY1" fmla="*/ 0 h 458547"/>
                <a:gd name="connsiteX2" fmla="*/ 198111 w 374251"/>
                <a:gd name="connsiteY2" fmla="*/ 1456 h 458547"/>
                <a:gd name="connsiteX3" fmla="*/ 211213 w 374251"/>
                <a:gd name="connsiteY3" fmla="*/ 7279 h 458547"/>
                <a:gd name="connsiteX4" fmla="*/ 219947 w 374251"/>
                <a:gd name="connsiteY4" fmla="*/ 13102 h 458547"/>
                <a:gd name="connsiteX5" fmla="*/ 228681 w 374251"/>
                <a:gd name="connsiteY5" fmla="*/ 20380 h 458547"/>
                <a:gd name="connsiteX6" fmla="*/ 233048 w 374251"/>
                <a:gd name="connsiteY6" fmla="*/ 24747 h 458547"/>
                <a:gd name="connsiteX7" fmla="*/ 241782 w 374251"/>
                <a:gd name="connsiteY7" fmla="*/ 42216 h 458547"/>
                <a:gd name="connsiteX8" fmla="*/ 259251 w 374251"/>
                <a:gd name="connsiteY8" fmla="*/ 77153 h 458547"/>
                <a:gd name="connsiteX9" fmla="*/ 283998 w 374251"/>
                <a:gd name="connsiteY9" fmla="*/ 128102 h 458547"/>
                <a:gd name="connsiteX10" fmla="*/ 285453 w 374251"/>
                <a:gd name="connsiteY10" fmla="*/ 129558 h 458547"/>
                <a:gd name="connsiteX11" fmla="*/ 353871 w 374251"/>
                <a:gd name="connsiteY11" fmla="*/ 141204 h 458547"/>
                <a:gd name="connsiteX12" fmla="*/ 361150 w 374251"/>
                <a:gd name="connsiteY12" fmla="*/ 144115 h 458547"/>
                <a:gd name="connsiteX13" fmla="*/ 368428 w 374251"/>
                <a:gd name="connsiteY13" fmla="*/ 148482 h 458547"/>
                <a:gd name="connsiteX14" fmla="*/ 372795 w 374251"/>
                <a:gd name="connsiteY14" fmla="*/ 155761 h 458547"/>
                <a:gd name="connsiteX15" fmla="*/ 374251 w 374251"/>
                <a:gd name="connsiteY15" fmla="*/ 164495 h 458547"/>
                <a:gd name="connsiteX16" fmla="*/ 374251 w 374251"/>
                <a:gd name="connsiteY16" fmla="*/ 170318 h 458547"/>
                <a:gd name="connsiteX17" fmla="*/ 372795 w 374251"/>
                <a:gd name="connsiteY17" fmla="*/ 174685 h 458547"/>
                <a:gd name="connsiteX18" fmla="*/ 371340 w 374251"/>
                <a:gd name="connsiteY18" fmla="*/ 179052 h 458547"/>
                <a:gd name="connsiteX19" fmla="*/ 368428 w 374251"/>
                <a:gd name="connsiteY19" fmla="*/ 181963 h 458547"/>
                <a:gd name="connsiteX20" fmla="*/ 364061 w 374251"/>
                <a:gd name="connsiteY20" fmla="*/ 184875 h 458547"/>
                <a:gd name="connsiteX21" fmla="*/ 359694 w 374251"/>
                <a:gd name="connsiteY21" fmla="*/ 187786 h 458547"/>
                <a:gd name="connsiteX22" fmla="*/ 355327 w 374251"/>
                <a:gd name="connsiteY22" fmla="*/ 187786 h 458547"/>
                <a:gd name="connsiteX23" fmla="*/ 350960 w 374251"/>
                <a:gd name="connsiteY23" fmla="*/ 189242 h 458547"/>
                <a:gd name="connsiteX24" fmla="*/ 348048 w 374251"/>
                <a:gd name="connsiteY24" fmla="*/ 189242 h 458547"/>
                <a:gd name="connsiteX25" fmla="*/ 260706 w 374251"/>
                <a:gd name="connsiteY25" fmla="*/ 171773 h 458547"/>
                <a:gd name="connsiteX26" fmla="*/ 256339 w 374251"/>
                <a:gd name="connsiteY26" fmla="*/ 168862 h 458547"/>
                <a:gd name="connsiteX27" fmla="*/ 251972 w 374251"/>
                <a:gd name="connsiteY27" fmla="*/ 165951 h 458547"/>
                <a:gd name="connsiteX28" fmla="*/ 246149 w 374251"/>
                <a:gd name="connsiteY28" fmla="*/ 158672 h 458547"/>
                <a:gd name="connsiteX29" fmla="*/ 225770 w 374251"/>
                <a:gd name="connsiteY29" fmla="*/ 116457 h 458547"/>
                <a:gd name="connsiteX30" fmla="*/ 211213 w 374251"/>
                <a:gd name="connsiteY30" fmla="*/ 187786 h 458547"/>
                <a:gd name="connsiteX31" fmla="*/ 279631 w 374251"/>
                <a:gd name="connsiteY31" fmla="*/ 262027 h 458547"/>
                <a:gd name="connsiteX32" fmla="*/ 282542 w 374251"/>
                <a:gd name="connsiteY32" fmla="*/ 263483 h 458547"/>
                <a:gd name="connsiteX33" fmla="*/ 285453 w 374251"/>
                <a:gd name="connsiteY33" fmla="*/ 269306 h 458547"/>
                <a:gd name="connsiteX34" fmla="*/ 288365 w 374251"/>
                <a:gd name="connsiteY34" fmla="*/ 278040 h 458547"/>
                <a:gd name="connsiteX35" fmla="*/ 289820 w 374251"/>
                <a:gd name="connsiteY35" fmla="*/ 292597 h 458547"/>
                <a:gd name="connsiteX36" fmla="*/ 289820 w 374251"/>
                <a:gd name="connsiteY36" fmla="*/ 362471 h 458547"/>
                <a:gd name="connsiteX37" fmla="*/ 289820 w 374251"/>
                <a:gd name="connsiteY37" fmla="*/ 429433 h 458547"/>
                <a:gd name="connsiteX38" fmla="*/ 289820 w 374251"/>
                <a:gd name="connsiteY38" fmla="*/ 430889 h 458547"/>
                <a:gd name="connsiteX39" fmla="*/ 289820 w 374251"/>
                <a:gd name="connsiteY39" fmla="*/ 433800 h 458547"/>
                <a:gd name="connsiteX40" fmla="*/ 288365 w 374251"/>
                <a:gd name="connsiteY40" fmla="*/ 438167 h 458547"/>
                <a:gd name="connsiteX41" fmla="*/ 286909 w 374251"/>
                <a:gd name="connsiteY41" fmla="*/ 443990 h 458547"/>
                <a:gd name="connsiteX42" fmla="*/ 283998 w 374251"/>
                <a:gd name="connsiteY42" fmla="*/ 448357 h 458547"/>
                <a:gd name="connsiteX43" fmla="*/ 279631 w 374251"/>
                <a:gd name="connsiteY43" fmla="*/ 451269 h 458547"/>
                <a:gd name="connsiteX44" fmla="*/ 276719 w 374251"/>
                <a:gd name="connsiteY44" fmla="*/ 454180 h 458547"/>
                <a:gd name="connsiteX45" fmla="*/ 272352 w 374251"/>
                <a:gd name="connsiteY45" fmla="*/ 457092 h 458547"/>
                <a:gd name="connsiteX46" fmla="*/ 266529 w 374251"/>
                <a:gd name="connsiteY46" fmla="*/ 458547 h 458547"/>
                <a:gd name="connsiteX47" fmla="*/ 260706 w 374251"/>
                <a:gd name="connsiteY47" fmla="*/ 458547 h 458547"/>
                <a:gd name="connsiteX48" fmla="*/ 256339 w 374251"/>
                <a:gd name="connsiteY48" fmla="*/ 458547 h 458547"/>
                <a:gd name="connsiteX49" fmla="*/ 250517 w 374251"/>
                <a:gd name="connsiteY49" fmla="*/ 457092 h 458547"/>
                <a:gd name="connsiteX50" fmla="*/ 246149 w 374251"/>
                <a:gd name="connsiteY50" fmla="*/ 454180 h 458547"/>
                <a:gd name="connsiteX51" fmla="*/ 243238 w 374251"/>
                <a:gd name="connsiteY51" fmla="*/ 451269 h 458547"/>
                <a:gd name="connsiteX52" fmla="*/ 238871 w 374251"/>
                <a:gd name="connsiteY52" fmla="*/ 448357 h 458547"/>
                <a:gd name="connsiteX53" fmla="*/ 235960 w 374251"/>
                <a:gd name="connsiteY53" fmla="*/ 443990 h 458547"/>
                <a:gd name="connsiteX54" fmla="*/ 234504 w 374251"/>
                <a:gd name="connsiteY54" fmla="*/ 438167 h 458547"/>
                <a:gd name="connsiteX55" fmla="*/ 233048 w 374251"/>
                <a:gd name="connsiteY55" fmla="*/ 433800 h 458547"/>
                <a:gd name="connsiteX56" fmla="*/ 233048 w 374251"/>
                <a:gd name="connsiteY56" fmla="*/ 307154 h 458547"/>
                <a:gd name="connsiteX57" fmla="*/ 161719 w 374251"/>
                <a:gd name="connsiteY57" fmla="*/ 235824 h 458547"/>
                <a:gd name="connsiteX58" fmla="*/ 148618 w 374251"/>
                <a:gd name="connsiteY58" fmla="*/ 315888 h 458547"/>
                <a:gd name="connsiteX59" fmla="*/ 145706 w 374251"/>
                <a:gd name="connsiteY59" fmla="*/ 324622 h 458547"/>
                <a:gd name="connsiteX60" fmla="*/ 136972 w 374251"/>
                <a:gd name="connsiteY60" fmla="*/ 336268 h 458547"/>
                <a:gd name="connsiteX61" fmla="*/ 36529 w 374251"/>
                <a:gd name="connsiteY61" fmla="*/ 451269 h 458547"/>
                <a:gd name="connsiteX62" fmla="*/ 23427 w 374251"/>
                <a:gd name="connsiteY62" fmla="*/ 454180 h 458547"/>
                <a:gd name="connsiteX63" fmla="*/ 17605 w 374251"/>
                <a:gd name="connsiteY63" fmla="*/ 454180 h 458547"/>
                <a:gd name="connsiteX64" fmla="*/ 13237 w 374251"/>
                <a:gd name="connsiteY64" fmla="*/ 451269 h 458547"/>
                <a:gd name="connsiteX65" fmla="*/ 8554 w 374251"/>
                <a:gd name="connsiteY65" fmla="*/ 451260 h 458547"/>
                <a:gd name="connsiteX66" fmla="*/ 0 w 374251"/>
                <a:gd name="connsiteY66" fmla="*/ 445913 h 458547"/>
                <a:gd name="connsiteX67" fmla="*/ 80200 w 374251"/>
                <a:gd name="connsiteY67" fmla="*/ 314432 h 458547"/>
                <a:gd name="connsiteX68" fmla="*/ 102035 w 374251"/>
                <a:gd name="connsiteY68" fmla="*/ 190698 h 458547"/>
                <a:gd name="connsiteX69" fmla="*/ 113681 w 374251"/>
                <a:gd name="connsiteY69" fmla="*/ 138292 h 458547"/>
                <a:gd name="connsiteX70" fmla="*/ 122785 w 374251"/>
                <a:gd name="connsiteY70" fmla="*/ 93909 h 458547"/>
                <a:gd name="connsiteX71" fmla="*/ 142621 w 374251"/>
                <a:gd name="connsiteY71" fmla="*/ 16944 h 458547"/>
                <a:gd name="connsiteX72" fmla="*/ 164630 w 374251"/>
                <a:gd name="connsiteY72" fmla="*/ 4367 h 458547"/>
                <a:gd name="connsiteX73" fmla="*/ 167542 w 374251"/>
                <a:gd name="connsiteY73" fmla="*/ 2912 h 458547"/>
                <a:gd name="connsiteX74" fmla="*/ 174820 w 374251"/>
                <a:gd name="connsiteY74" fmla="*/ 1456 h 458547"/>
                <a:gd name="connsiteX75" fmla="*/ 186466 w 374251"/>
                <a:gd name="connsiteY75" fmla="*/ 0 h 458547"/>
                <a:gd name="connsiteX0" fmla="*/ 186466 w 374251"/>
                <a:gd name="connsiteY0" fmla="*/ 0 h 458547"/>
                <a:gd name="connsiteX1" fmla="*/ 192289 w 374251"/>
                <a:gd name="connsiteY1" fmla="*/ 0 h 458547"/>
                <a:gd name="connsiteX2" fmla="*/ 198111 w 374251"/>
                <a:gd name="connsiteY2" fmla="*/ 1456 h 458547"/>
                <a:gd name="connsiteX3" fmla="*/ 211213 w 374251"/>
                <a:gd name="connsiteY3" fmla="*/ 7279 h 458547"/>
                <a:gd name="connsiteX4" fmla="*/ 219947 w 374251"/>
                <a:gd name="connsiteY4" fmla="*/ 13102 h 458547"/>
                <a:gd name="connsiteX5" fmla="*/ 228681 w 374251"/>
                <a:gd name="connsiteY5" fmla="*/ 20380 h 458547"/>
                <a:gd name="connsiteX6" fmla="*/ 233048 w 374251"/>
                <a:gd name="connsiteY6" fmla="*/ 24747 h 458547"/>
                <a:gd name="connsiteX7" fmla="*/ 241782 w 374251"/>
                <a:gd name="connsiteY7" fmla="*/ 42216 h 458547"/>
                <a:gd name="connsiteX8" fmla="*/ 259251 w 374251"/>
                <a:gd name="connsiteY8" fmla="*/ 77153 h 458547"/>
                <a:gd name="connsiteX9" fmla="*/ 283998 w 374251"/>
                <a:gd name="connsiteY9" fmla="*/ 128102 h 458547"/>
                <a:gd name="connsiteX10" fmla="*/ 285453 w 374251"/>
                <a:gd name="connsiteY10" fmla="*/ 129558 h 458547"/>
                <a:gd name="connsiteX11" fmla="*/ 353871 w 374251"/>
                <a:gd name="connsiteY11" fmla="*/ 141204 h 458547"/>
                <a:gd name="connsiteX12" fmla="*/ 361150 w 374251"/>
                <a:gd name="connsiteY12" fmla="*/ 144115 h 458547"/>
                <a:gd name="connsiteX13" fmla="*/ 368428 w 374251"/>
                <a:gd name="connsiteY13" fmla="*/ 148482 h 458547"/>
                <a:gd name="connsiteX14" fmla="*/ 372795 w 374251"/>
                <a:gd name="connsiteY14" fmla="*/ 155761 h 458547"/>
                <a:gd name="connsiteX15" fmla="*/ 374251 w 374251"/>
                <a:gd name="connsiteY15" fmla="*/ 164495 h 458547"/>
                <a:gd name="connsiteX16" fmla="*/ 374251 w 374251"/>
                <a:gd name="connsiteY16" fmla="*/ 170318 h 458547"/>
                <a:gd name="connsiteX17" fmla="*/ 372795 w 374251"/>
                <a:gd name="connsiteY17" fmla="*/ 174685 h 458547"/>
                <a:gd name="connsiteX18" fmla="*/ 371340 w 374251"/>
                <a:gd name="connsiteY18" fmla="*/ 179052 h 458547"/>
                <a:gd name="connsiteX19" fmla="*/ 368428 w 374251"/>
                <a:gd name="connsiteY19" fmla="*/ 181963 h 458547"/>
                <a:gd name="connsiteX20" fmla="*/ 364061 w 374251"/>
                <a:gd name="connsiteY20" fmla="*/ 184875 h 458547"/>
                <a:gd name="connsiteX21" fmla="*/ 359694 w 374251"/>
                <a:gd name="connsiteY21" fmla="*/ 187786 h 458547"/>
                <a:gd name="connsiteX22" fmla="*/ 355327 w 374251"/>
                <a:gd name="connsiteY22" fmla="*/ 187786 h 458547"/>
                <a:gd name="connsiteX23" fmla="*/ 350960 w 374251"/>
                <a:gd name="connsiteY23" fmla="*/ 189242 h 458547"/>
                <a:gd name="connsiteX24" fmla="*/ 348048 w 374251"/>
                <a:gd name="connsiteY24" fmla="*/ 189242 h 458547"/>
                <a:gd name="connsiteX25" fmla="*/ 260706 w 374251"/>
                <a:gd name="connsiteY25" fmla="*/ 171773 h 458547"/>
                <a:gd name="connsiteX26" fmla="*/ 256339 w 374251"/>
                <a:gd name="connsiteY26" fmla="*/ 168862 h 458547"/>
                <a:gd name="connsiteX27" fmla="*/ 251972 w 374251"/>
                <a:gd name="connsiteY27" fmla="*/ 165951 h 458547"/>
                <a:gd name="connsiteX28" fmla="*/ 246149 w 374251"/>
                <a:gd name="connsiteY28" fmla="*/ 158672 h 458547"/>
                <a:gd name="connsiteX29" fmla="*/ 225770 w 374251"/>
                <a:gd name="connsiteY29" fmla="*/ 116457 h 458547"/>
                <a:gd name="connsiteX30" fmla="*/ 211213 w 374251"/>
                <a:gd name="connsiteY30" fmla="*/ 187786 h 458547"/>
                <a:gd name="connsiteX31" fmla="*/ 279631 w 374251"/>
                <a:gd name="connsiteY31" fmla="*/ 262027 h 458547"/>
                <a:gd name="connsiteX32" fmla="*/ 282542 w 374251"/>
                <a:gd name="connsiteY32" fmla="*/ 263483 h 458547"/>
                <a:gd name="connsiteX33" fmla="*/ 285453 w 374251"/>
                <a:gd name="connsiteY33" fmla="*/ 269306 h 458547"/>
                <a:gd name="connsiteX34" fmla="*/ 288365 w 374251"/>
                <a:gd name="connsiteY34" fmla="*/ 278040 h 458547"/>
                <a:gd name="connsiteX35" fmla="*/ 289820 w 374251"/>
                <a:gd name="connsiteY35" fmla="*/ 292597 h 458547"/>
                <a:gd name="connsiteX36" fmla="*/ 289820 w 374251"/>
                <a:gd name="connsiteY36" fmla="*/ 362471 h 458547"/>
                <a:gd name="connsiteX37" fmla="*/ 289820 w 374251"/>
                <a:gd name="connsiteY37" fmla="*/ 429433 h 458547"/>
                <a:gd name="connsiteX38" fmla="*/ 289820 w 374251"/>
                <a:gd name="connsiteY38" fmla="*/ 430889 h 458547"/>
                <a:gd name="connsiteX39" fmla="*/ 289820 w 374251"/>
                <a:gd name="connsiteY39" fmla="*/ 433800 h 458547"/>
                <a:gd name="connsiteX40" fmla="*/ 288365 w 374251"/>
                <a:gd name="connsiteY40" fmla="*/ 438167 h 458547"/>
                <a:gd name="connsiteX41" fmla="*/ 286909 w 374251"/>
                <a:gd name="connsiteY41" fmla="*/ 443990 h 458547"/>
                <a:gd name="connsiteX42" fmla="*/ 283998 w 374251"/>
                <a:gd name="connsiteY42" fmla="*/ 448357 h 458547"/>
                <a:gd name="connsiteX43" fmla="*/ 279631 w 374251"/>
                <a:gd name="connsiteY43" fmla="*/ 451269 h 458547"/>
                <a:gd name="connsiteX44" fmla="*/ 276719 w 374251"/>
                <a:gd name="connsiteY44" fmla="*/ 454180 h 458547"/>
                <a:gd name="connsiteX45" fmla="*/ 272352 w 374251"/>
                <a:gd name="connsiteY45" fmla="*/ 457092 h 458547"/>
                <a:gd name="connsiteX46" fmla="*/ 266529 w 374251"/>
                <a:gd name="connsiteY46" fmla="*/ 458547 h 458547"/>
                <a:gd name="connsiteX47" fmla="*/ 260706 w 374251"/>
                <a:gd name="connsiteY47" fmla="*/ 458547 h 458547"/>
                <a:gd name="connsiteX48" fmla="*/ 256339 w 374251"/>
                <a:gd name="connsiteY48" fmla="*/ 458547 h 458547"/>
                <a:gd name="connsiteX49" fmla="*/ 250517 w 374251"/>
                <a:gd name="connsiteY49" fmla="*/ 457092 h 458547"/>
                <a:gd name="connsiteX50" fmla="*/ 246149 w 374251"/>
                <a:gd name="connsiteY50" fmla="*/ 454180 h 458547"/>
                <a:gd name="connsiteX51" fmla="*/ 243238 w 374251"/>
                <a:gd name="connsiteY51" fmla="*/ 451269 h 458547"/>
                <a:gd name="connsiteX52" fmla="*/ 238871 w 374251"/>
                <a:gd name="connsiteY52" fmla="*/ 448357 h 458547"/>
                <a:gd name="connsiteX53" fmla="*/ 235960 w 374251"/>
                <a:gd name="connsiteY53" fmla="*/ 443990 h 458547"/>
                <a:gd name="connsiteX54" fmla="*/ 234504 w 374251"/>
                <a:gd name="connsiteY54" fmla="*/ 438167 h 458547"/>
                <a:gd name="connsiteX55" fmla="*/ 233048 w 374251"/>
                <a:gd name="connsiteY55" fmla="*/ 433800 h 458547"/>
                <a:gd name="connsiteX56" fmla="*/ 233048 w 374251"/>
                <a:gd name="connsiteY56" fmla="*/ 307154 h 458547"/>
                <a:gd name="connsiteX57" fmla="*/ 161719 w 374251"/>
                <a:gd name="connsiteY57" fmla="*/ 235824 h 458547"/>
                <a:gd name="connsiteX58" fmla="*/ 148618 w 374251"/>
                <a:gd name="connsiteY58" fmla="*/ 315888 h 458547"/>
                <a:gd name="connsiteX59" fmla="*/ 145706 w 374251"/>
                <a:gd name="connsiteY59" fmla="*/ 324622 h 458547"/>
                <a:gd name="connsiteX60" fmla="*/ 136972 w 374251"/>
                <a:gd name="connsiteY60" fmla="*/ 336268 h 458547"/>
                <a:gd name="connsiteX61" fmla="*/ 36529 w 374251"/>
                <a:gd name="connsiteY61" fmla="*/ 451269 h 458547"/>
                <a:gd name="connsiteX62" fmla="*/ 23427 w 374251"/>
                <a:gd name="connsiteY62" fmla="*/ 454180 h 458547"/>
                <a:gd name="connsiteX63" fmla="*/ 17605 w 374251"/>
                <a:gd name="connsiteY63" fmla="*/ 454180 h 458547"/>
                <a:gd name="connsiteX64" fmla="*/ 13237 w 374251"/>
                <a:gd name="connsiteY64" fmla="*/ 451269 h 458547"/>
                <a:gd name="connsiteX65" fmla="*/ 0 w 374251"/>
                <a:gd name="connsiteY65" fmla="*/ 445913 h 458547"/>
                <a:gd name="connsiteX66" fmla="*/ 80200 w 374251"/>
                <a:gd name="connsiteY66" fmla="*/ 314432 h 458547"/>
                <a:gd name="connsiteX67" fmla="*/ 102035 w 374251"/>
                <a:gd name="connsiteY67" fmla="*/ 190698 h 458547"/>
                <a:gd name="connsiteX68" fmla="*/ 113681 w 374251"/>
                <a:gd name="connsiteY68" fmla="*/ 138292 h 458547"/>
                <a:gd name="connsiteX69" fmla="*/ 122785 w 374251"/>
                <a:gd name="connsiteY69" fmla="*/ 93909 h 458547"/>
                <a:gd name="connsiteX70" fmla="*/ 142621 w 374251"/>
                <a:gd name="connsiteY70" fmla="*/ 16944 h 458547"/>
                <a:gd name="connsiteX71" fmla="*/ 164630 w 374251"/>
                <a:gd name="connsiteY71" fmla="*/ 4367 h 458547"/>
                <a:gd name="connsiteX72" fmla="*/ 167542 w 374251"/>
                <a:gd name="connsiteY72" fmla="*/ 2912 h 458547"/>
                <a:gd name="connsiteX73" fmla="*/ 174820 w 374251"/>
                <a:gd name="connsiteY73" fmla="*/ 1456 h 458547"/>
                <a:gd name="connsiteX74" fmla="*/ 186466 w 374251"/>
                <a:gd name="connsiteY74" fmla="*/ 0 h 458547"/>
                <a:gd name="connsiteX0" fmla="*/ 173229 w 361014"/>
                <a:gd name="connsiteY0" fmla="*/ 0 h 458547"/>
                <a:gd name="connsiteX1" fmla="*/ 179052 w 361014"/>
                <a:gd name="connsiteY1" fmla="*/ 0 h 458547"/>
                <a:gd name="connsiteX2" fmla="*/ 184874 w 361014"/>
                <a:gd name="connsiteY2" fmla="*/ 1456 h 458547"/>
                <a:gd name="connsiteX3" fmla="*/ 197976 w 361014"/>
                <a:gd name="connsiteY3" fmla="*/ 7279 h 458547"/>
                <a:gd name="connsiteX4" fmla="*/ 206710 w 361014"/>
                <a:gd name="connsiteY4" fmla="*/ 13102 h 458547"/>
                <a:gd name="connsiteX5" fmla="*/ 215444 w 361014"/>
                <a:gd name="connsiteY5" fmla="*/ 20380 h 458547"/>
                <a:gd name="connsiteX6" fmla="*/ 219811 w 361014"/>
                <a:gd name="connsiteY6" fmla="*/ 24747 h 458547"/>
                <a:gd name="connsiteX7" fmla="*/ 228545 w 361014"/>
                <a:gd name="connsiteY7" fmla="*/ 42216 h 458547"/>
                <a:gd name="connsiteX8" fmla="*/ 246014 w 361014"/>
                <a:gd name="connsiteY8" fmla="*/ 77153 h 458547"/>
                <a:gd name="connsiteX9" fmla="*/ 270761 w 361014"/>
                <a:gd name="connsiteY9" fmla="*/ 128102 h 458547"/>
                <a:gd name="connsiteX10" fmla="*/ 272216 w 361014"/>
                <a:gd name="connsiteY10" fmla="*/ 129558 h 458547"/>
                <a:gd name="connsiteX11" fmla="*/ 340634 w 361014"/>
                <a:gd name="connsiteY11" fmla="*/ 141204 h 458547"/>
                <a:gd name="connsiteX12" fmla="*/ 347913 w 361014"/>
                <a:gd name="connsiteY12" fmla="*/ 144115 h 458547"/>
                <a:gd name="connsiteX13" fmla="*/ 355191 w 361014"/>
                <a:gd name="connsiteY13" fmla="*/ 148482 h 458547"/>
                <a:gd name="connsiteX14" fmla="*/ 359558 w 361014"/>
                <a:gd name="connsiteY14" fmla="*/ 155761 h 458547"/>
                <a:gd name="connsiteX15" fmla="*/ 361014 w 361014"/>
                <a:gd name="connsiteY15" fmla="*/ 164495 h 458547"/>
                <a:gd name="connsiteX16" fmla="*/ 361014 w 361014"/>
                <a:gd name="connsiteY16" fmla="*/ 170318 h 458547"/>
                <a:gd name="connsiteX17" fmla="*/ 359558 w 361014"/>
                <a:gd name="connsiteY17" fmla="*/ 174685 h 458547"/>
                <a:gd name="connsiteX18" fmla="*/ 358103 w 361014"/>
                <a:gd name="connsiteY18" fmla="*/ 179052 h 458547"/>
                <a:gd name="connsiteX19" fmla="*/ 355191 w 361014"/>
                <a:gd name="connsiteY19" fmla="*/ 181963 h 458547"/>
                <a:gd name="connsiteX20" fmla="*/ 350824 w 361014"/>
                <a:gd name="connsiteY20" fmla="*/ 184875 h 458547"/>
                <a:gd name="connsiteX21" fmla="*/ 346457 w 361014"/>
                <a:gd name="connsiteY21" fmla="*/ 187786 h 458547"/>
                <a:gd name="connsiteX22" fmla="*/ 342090 w 361014"/>
                <a:gd name="connsiteY22" fmla="*/ 187786 h 458547"/>
                <a:gd name="connsiteX23" fmla="*/ 337723 w 361014"/>
                <a:gd name="connsiteY23" fmla="*/ 189242 h 458547"/>
                <a:gd name="connsiteX24" fmla="*/ 334811 w 361014"/>
                <a:gd name="connsiteY24" fmla="*/ 189242 h 458547"/>
                <a:gd name="connsiteX25" fmla="*/ 247469 w 361014"/>
                <a:gd name="connsiteY25" fmla="*/ 171773 h 458547"/>
                <a:gd name="connsiteX26" fmla="*/ 243102 w 361014"/>
                <a:gd name="connsiteY26" fmla="*/ 168862 h 458547"/>
                <a:gd name="connsiteX27" fmla="*/ 238735 w 361014"/>
                <a:gd name="connsiteY27" fmla="*/ 165951 h 458547"/>
                <a:gd name="connsiteX28" fmla="*/ 232912 w 361014"/>
                <a:gd name="connsiteY28" fmla="*/ 158672 h 458547"/>
                <a:gd name="connsiteX29" fmla="*/ 212533 w 361014"/>
                <a:gd name="connsiteY29" fmla="*/ 116457 h 458547"/>
                <a:gd name="connsiteX30" fmla="*/ 197976 w 361014"/>
                <a:gd name="connsiteY30" fmla="*/ 187786 h 458547"/>
                <a:gd name="connsiteX31" fmla="*/ 266394 w 361014"/>
                <a:gd name="connsiteY31" fmla="*/ 262027 h 458547"/>
                <a:gd name="connsiteX32" fmla="*/ 269305 w 361014"/>
                <a:gd name="connsiteY32" fmla="*/ 263483 h 458547"/>
                <a:gd name="connsiteX33" fmla="*/ 272216 w 361014"/>
                <a:gd name="connsiteY33" fmla="*/ 269306 h 458547"/>
                <a:gd name="connsiteX34" fmla="*/ 275128 w 361014"/>
                <a:gd name="connsiteY34" fmla="*/ 278040 h 458547"/>
                <a:gd name="connsiteX35" fmla="*/ 276583 w 361014"/>
                <a:gd name="connsiteY35" fmla="*/ 292597 h 458547"/>
                <a:gd name="connsiteX36" fmla="*/ 276583 w 361014"/>
                <a:gd name="connsiteY36" fmla="*/ 362471 h 458547"/>
                <a:gd name="connsiteX37" fmla="*/ 276583 w 361014"/>
                <a:gd name="connsiteY37" fmla="*/ 429433 h 458547"/>
                <a:gd name="connsiteX38" fmla="*/ 276583 w 361014"/>
                <a:gd name="connsiteY38" fmla="*/ 430889 h 458547"/>
                <a:gd name="connsiteX39" fmla="*/ 276583 w 361014"/>
                <a:gd name="connsiteY39" fmla="*/ 433800 h 458547"/>
                <a:gd name="connsiteX40" fmla="*/ 275128 w 361014"/>
                <a:gd name="connsiteY40" fmla="*/ 438167 h 458547"/>
                <a:gd name="connsiteX41" fmla="*/ 273672 w 361014"/>
                <a:gd name="connsiteY41" fmla="*/ 443990 h 458547"/>
                <a:gd name="connsiteX42" fmla="*/ 270761 w 361014"/>
                <a:gd name="connsiteY42" fmla="*/ 448357 h 458547"/>
                <a:gd name="connsiteX43" fmla="*/ 266394 w 361014"/>
                <a:gd name="connsiteY43" fmla="*/ 451269 h 458547"/>
                <a:gd name="connsiteX44" fmla="*/ 263482 w 361014"/>
                <a:gd name="connsiteY44" fmla="*/ 454180 h 458547"/>
                <a:gd name="connsiteX45" fmla="*/ 259115 w 361014"/>
                <a:gd name="connsiteY45" fmla="*/ 457092 h 458547"/>
                <a:gd name="connsiteX46" fmla="*/ 253292 w 361014"/>
                <a:gd name="connsiteY46" fmla="*/ 458547 h 458547"/>
                <a:gd name="connsiteX47" fmla="*/ 247469 w 361014"/>
                <a:gd name="connsiteY47" fmla="*/ 458547 h 458547"/>
                <a:gd name="connsiteX48" fmla="*/ 243102 w 361014"/>
                <a:gd name="connsiteY48" fmla="*/ 458547 h 458547"/>
                <a:gd name="connsiteX49" fmla="*/ 237280 w 361014"/>
                <a:gd name="connsiteY49" fmla="*/ 457092 h 458547"/>
                <a:gd name="connsiteX50" fmla="*/ 232912 w 361014"/>
                <a:gd name="connsiteY50" fmla="*/ 454180 h 458547"/>
                <a:gd name="connsiteX51" fmla="*/ 230001 w 361014"/>
                <a:gd name="connsiteY51" fmla="*/ 451269 h 458547"/>
                <a:gd name="connsiteX52" fmla="*/ 225634 w 361014"/>
                <a:gd name="connsiteY52" fmla="*/ 448357 h 458547"/>
                <a:gd name="connsiteX53" fmla="*/ 222723 w 361014"/>
                <a:gd name="connsiteY53" fmla="*/ 443990 h 458547"/>
                <a:gd name="connsiteX54" fmla="*/ 221267 w 361014"/>
                <a:gd name="connsiteY54" fmla="*/ 438167 h 458547"/>
                <a:gd name="connsiteX55" fmla="*/ 219811 w 361014"/>
                <a:gd name="connsiteY55" fmla="*/ 433800 h 458547"/>
                <a:gd name="connsiteX56" fmla="*/ 219811 w 361014"/>
                <a:gd name="connsiteY56" fmla="*/ 307154 h 458547"/>
                <a:gd name="connsiteX57" fmla="*/ 148482 w 361014"/>
                <a:gd name="connsiteY57" fmla="*/ 235824 h 458547"/>
                <a:gd name="connsiteX58" fmla="*/ 135381 w 361014"/>
                <a:gd name="connsiteY58" fmla="*/ 315888 h 458547"/>
                <a:gd name="connsiteX59" fmla="*/ 132469 w 361014"/>
                <a:gd name="connsiteY59" fmla="*/ 324622 h 458547"/>
                <a:gd name="connsiteX60" fmla="*/ 123735 w 361014"/>
                <a:gd name="connsiteY60" fmla="*/ 336268 h 458547"/>
                <a:gd name="connsiteX61" fmla="*/ 23292 w 361014"/>
                <a:gd name="connsiteY61" fmla="*/ 451269 h 458547"/>
                <a:gd name="connsiteX62" fmla="*/ 10190 w 361014"/>
                <a:gd name="connsiteY62" fmla="*/ 454180 h 458547"/>
                <a:gd name="connsiteX63" fmla="*/ 4368 w 361014"/>
                <a:gd name="connsiteY63" fmla="*/ 454180 h 458547"/>
                <a:gd name="connsiteX64" fmla="*/ 0 w 361014"/>
                <a:gd name="connsiteY64" fmla="*/ 451269 h 458547"/>
                <a:gd name="connsiteX65" fmla="*/ 66963 w 361014"/>
                <a:gd name="connsiteY65" fmla="*/ 314432 h 458547"/>
                <a:gd name="connsiteX66" fmla="*/ 88798 w 361014"/>
                <a:gd name="connsiteY66" fmla="*/ 190698 h 458547"/>
                <a:gd name="connsiteX67" fmla="*/ 100444 w 361014"/>
                <a:gd name="connsiteY67" fmla="*/ 138292 h 458547"/>
                <a:gd name="connsiteX68" fmla="*/ 109548 w 361014"/>
                <a:gd name="connsiteY68" fmla="*/ 93909 h 458547"/>
                <a:gd name="connsiteX69" fmla="*/ 129384 w 361014"/>
                <a:gd name="connsiteY69" fmla="*/ 16944 h 458547"/>
                <a:gd name="connsiteX70" fmla="*/ 151393 w 361014"/>
                <a:gd name="connsiteY70" fmla="*/ 4367 h 458547"/>
                <a:gd name="connsiteX71" fmla="*/ 154305 w 361014"/>
                <a:gd name="connsiteY71" fmla="*/ 2912 h 458547"/>
                <a:gd name="connsiteX72" fmla="*/ 161583 w 361014"/>
                <a:gd name="connsiteY72" fmla="*/ 1456 h 458547"/>
                <a:gd name="connsiteX73" fmla="*/ 173229 w 361014"/>
                <a:gd name="connsiteY73" fmla="*/ 0 h 458547"/>
                <a:gd name="connsiteX0" fmla="*/ 168861 w 356646"/>
                <a:gd name="connsiteY0" fmla="*/ 0 h 458547"/>
                <a:gd name="connsiteX1" fmla="*/ 174684 w 356646"/>
                <a:gd name="connsiteY1" fmla="*/ 0 h 458547"/>
                <a:gd name="connsiteX2" fmla="*/ 180506 w 356646"/>
                <a:gd name="connsiteY2" fmla="*/ 1456 h 458547"/>
                <a:gd name="connsiteX3" fmla="*/ 193608 w 356646"/>
                <a:gd name="connsiteY3" fmla="*/ 7279 h 458547"/>
                <a:gd name="connsiteX4" fmla="*/ 202342 w 356646"/>
                <a:gd name="connsiteY4" fmla="*/ 13102 h 458547"/>
                <a:gd name="connsiteX5" fmla="*/ 211076 w 356646"/>
                <a:gd name="connsiteY5" fmla="*/ 20380 h 458547"/>
                <a:gd name="connsiteX6" fmla="*/ 215443 w 356646"/>
                <a:gd name="connsiteY6" fmla="*/ 24747 h 458547"/>
                <a:gd name="connsiteX7" fmla="*/ 224177 w 356646"/>
                <a:gd name="connsiteY7" fmla="*/ 42216 h 458547"/>
                <a:gd name="connsiteX8" fmla="*/ 241646 w 356646"/>
                <a:gd name="connsiteY8" fmla="*/ 77153 h 458547"/>
                <a:gd name="connsiteX9" fmla="*/ 266393 w 356646"/>
                <a:gd name="connsiteY9" fmla="*/ 128102 h 458547"/>
                <a:gd name="connsiteX10" fmla="*/ 267848 w 356646"/>
                <a:gd name="connsiteY10" fmla="*/ 129558 h 458547"/>
                <a:gd name="connsiteX11" fmla="*/ 336266 w 356646"/>
                <a:gd name="connsiteY11" fmla="*/ 141204 h 458547"/>
                <a:gd name="connsiteX12" fmla="*/ 343545 w 356646"/>
                <a:gd name="connsiteY12" fmla="*/ 144115 h 458547"/>
                <a:gd name="connsiteX13" fmla="*/ 350823 w 356646"/>
                <a:gd name="connsiteY13" fmla="*/ 148482 h 458547"/>
                <a:gd name="connsiteX14" fmla="*/ 355190 w 356646"/>
                <a:gd name="connsiteY14" fmla="*/ 155761 h 458547"/>
                <a:gd name="connsiteX15" fmla="*/ 356646 w 356646"/>
                <a:gd name="connsiteY15" fmla="*/ 164495 h 458547"/>
                <a:gd name="connsiteX16" fmla="*/ 356646 w 356646"/>
                <a:gd name="connsiteY16" fmla="*/ 170318 h 458547"/>
                <a:gd name="connsiteX17" fmla="*/ 355190 w 356646"/>
                <a:gd name="connsiteY17" fmla="*/ 174685 h 458547"/>
                <a:gd name="connsiteX18" fmla="*/ 353735 w 356646"/>
                <a:gd name="connsiteY18" fmla="*/ 179052 h 458547"/>
                <a:gd name="connsiteX19" fmla="*/ 350823 w 356646"/>
                <a:gd name="connsiteY19" fmla="*/ 181963 h 458547"/>
                <a:gd name="connsiteX20" fmla="*/ 346456 w 356646"/>
                <a:gd name="connsiteY20" fmla="*/ 184875 h 458547"/>
                <a:gd name="connsiteX21" fmla="*/ 342089 w 356646"/>
                <a:gd name="connsiteY21" fmla="*/ 187786 h 458547"/>
                <a:gd name="connsiteX22" fmla="*/ 337722 w 356646"/>
                <a:gd name="connsiteY22" fmla="*/ 187786 h 458547"/>
                <a:gd name="connsiteX23" fmla="*/ 333355 w 356646"/>
                <a:gd name="connsiteY23" fmla="*/ 189242 h 458547"/>
                <a:gd name="connsiteX24" fmla="*/ 330443 w 356646"/>
                <a:gd name="connsiteY24" fmla="*/ 189242 h 458547"/>
                <a:gd name="connsiteX25" fmla="*/ 243101 w 356646"/>
                <a:gd name="connsiteY25" fmla="*/ 171773 h 458547"/>
                <a:gd name="connsiteX26" fmla="*/ 238734 w 356646"/>
                <a:gd name="connsiteY26" fmla="*/ 168862 h 458547"/>
                <a:gd name="connsiteX27" fmla="*/ 234367 w 356646"/>
                <a:gd name="connsiteY27" fmla="*/ 165951 h 458547"/>
                <a:gd name="connsiteX28" fmla="*/ 228544 w 356646"/>
                <a:gd name="connsiteY28" fmla="*/ 158672 h 458547"/>
                <a:gd name="connsiteX29" fmla="*/ 208165 w 356646"/>
                <a:gd name="connsiteY29" fmla="*/ 116457 h 458547"/>
                <a:gd name="connsiteX30" fmla="*/ 193608 w 356646"/>
                <a:gd name="connsiteY30" fmla="*/ 187786 h 458547"/>
                <a:gd name="connsiteX31" fmla="*/ 262026 w 356646"/>
                <a:gd name="connsiteY31" fmla="*/ 262027 h 458547"/>
                <a:gd name="connsiteX32" fmla="*/ 264937 w 356646"/>
                <a:gd name="connsiteY32" fmla="*/ 263483 h 458547"/>
                <a:gd name="connsiteX33" fmla="*/ 267848 w 356646"/>
                <a:gd name="connsiteY33" fmla="*/ 269306 h 458547"/>
                <a:gd name="connsiteX34" fmla="*/ 270760 w 356646"/>
                <a:gd name="connsiteY34" fmla="*/ 278040 h 458547"/>
                <a:gd name="connsiteX35" fmla="*/ 272215 w 356646"/>
                <a:gd name="connsiteY35" fmla="*/ 292597 h 458547"/>
                <a:gd name="connsiteX36" fmla="*/ 272215 w 356646"/>
                <a:gd name="connsiteY36" fmla="*/ 362471 h 458547"/>
                <a:gd name="connsiteX37" fmla="*/ 272215 w 356646"/>
                <a:gd name="connsiteY37" fmla="*/ 429433 h 458547"/>
                <a:gd name="connsiteX38" fmla="*/ 272215 w 356646"/>
                <a:gd name="connsiteY38" fmla="*/ 430889 h 458547"/>
                <a:gd name="connsiteX39" fmla="*/ 272215 w 356646"/>
                <a:gd name="connsiteY39" fmla="*/ 433800 h 458547"/>
                <a:gd name="connsiteX40" fmla="*/ 270760 w 356646"/>
                <a:gd name="connsiteY40" fmla="*/ 438167 h 458547"/>
                <a:gd name="connsiteX41" fmla="*/ 269304 w 356646"/>
                <a:gd name="connsiteY41" fmla="*/ 443990 h 458547"/>
                <a:gd name="connsiteX42" fmla="*/ 266393 w 356646"/>
                <a:gd name="connsiteY42" fmla="*/ 448357 h 458547"/>
                <a:gd name="connsiteX43" fmla="*/ 262026 w 356646"/>
                <a:gd name="connsiteY43" fmla="*/ 451269 h 458547"/>
                <a:gd name="connsiteX44" fmla="*/ 259114 w 356646"/>
                <a:gd name="connsiteY44" fmla="*/ 454180 h 458547"/>
                <a:gd name="connsiteX45" fmla="*/ 254747 w 356646"/>
                <a:gd name="connsiteY45" fmla="*/ 457092 h 458547"/>
                <a:gd name="connsiteX46" fmla="*/ 248924 w 356646"/>
                <a:gd name="connsiteY46" fmla="*/ 458547 h 458547"/>
                <a:gd name="connsiteX47" fmla="*/ 243101 w 356646"/>
                <a:gd name="connsiteY47" fmla="*/ 458547 h 458547"/>
                <a:gd name="connsiteX48" fmla="*/ 238734 w 356646"/>
                <a:gd name="connsiteY48" fmla="*/ 458547 h 458547"/>
                <a:gd name="connsiteX49" fmla="*/ 232912 w 356646"/>
                <a:gd name="connsiteY49" fmla="*/ 457092 h 458547"/>
                <a:gd name="connsiteX50" fmla="*/ 228544 w 356646"/>
                <a:gd name="connsiteY50" fmla="*/ 454180 h 458547"/>
                <a:gd name="connsiteX51" fmla="*/ 225633 w 356646"/>
                <a:gd name="connsiteY51" fmla="*/ 451269 h 458547"/>
                <a:gd name="connsiteX52" fmla="*/ 221266 w 356646"/>
                <a:gd name="connsiteY52" fmla="*/ 448357 h 458547"/>
                <a:gd name="connsiteX53" fmla="*/ 218355 w 356646"/>
                <a:gd name="connsiteY53" fmla="*/ 443990 h 458547"/>
                <a:gd name="connsiteX54" fmla="*/ 216899 w 356646"/>
                <a:gd name="connsiteY54" fmla="*/ 438167 h 458547"/>
                <a:gd name="connsiteX55" fmla="*/ 215443 w 356646"/>
                <a:gd name="connsiteY55" fmla="*/ 433800 h 458547"/>
                <a:gd name="connsiteX56" fmla="*/ 215443 w 356646"/>
                <a:gd name="connsiteY56" fmla="*/ 307154 h 458547"/>
                <a:gd name="connsiteX57" fmla="*/ 144114 w 356646"/>
                <a:gd name="connsiteY57" fmla="*/ 235824 h 458547"/>
                <a:gd name="connsiteX58" fmla="*/ 131013 w 356646"/>
                <a:gd name="connsiteY58" fmla="*/ 315888 h 458547"/>
                <a:gd name="connsiteX59" fmla="*/ 128101 w 356646"/>
                <a:gd name="connsiteY59" fmla="*/ 324622 h 458547"/>
                <a:gd name="connsiteX60" fmla="*/ 119367 w 356646"/>
                <a:gd name="connsiteY60" fmla="*/ 336268 h 458547"/>
                <a:gd name="connsiteX61" fmla="*/ 18924 w 356646"/>
                <a:gd name="connsiteY61" fmla="*/ 451269 h 458547"/>
                <a:gd name="connsiteX62" fmla="*/ 5822 w 356646"/>
                <a:gd name="connsiteY62" fmla="*/ 454180 h 458547"/>
                <a:gd name="connsiteX63" fmla="*/ 0 w 356646"/>
                <a:gd name="connsiteY63" fmla="*/ 454180 h 458547"/>
                <a:gd name="connsiteX64" fmla="*/ 62595 w 356646"/>
                <a:gd name="connsiteY64" fmla="*/ 314432 h 458547"/>
                <a:gd name="connsiteX65" fmla="*/ 84430 w 356646"/>
                <a:gd name="connsiteY65" fmla="*/ 190698 h 458547"/>
                <a:gd name="connsiteX66" fmla="*/ 96076 w 356646"/>
                <a:gd name="connsiteY66" fmla="*/ 138292 h 458547"/>
                <a:gd name="connsiteX67" fmla="*/ 105180 w 356646"/>
                <a:gd name="connsiteY67" fmla="*/ 93909 h 458547"/>
                <a:gd name="connsiteX68" fmla="*/ 125016 w 356646"/>
                <a:gd name="connsiteY68" fmla="*/ 16944 h 458547"/>
                <a:gd name="connsiteX69" fmla="*/ 147025 w 356646"/>
                <a:gd name="connsiteY69" fmla="*/ 4367 h 458547"/>
                <a:gd name="connsiteX70" fmla="*/ 149937 w 356646"/>
                <a:gd name="connsiteY70" fmla="*/ 2912 h 458547"/>
                <a:gd name="connsiteX71" fmla="*/ 157215 w 356646"/>
                <a:gd name="connsiteY71" fmla="*/ 1456 h 458547"/>
                <a:gd name="connsiteX72" fmla="*/ 168861 w 356646"/>
                <a:gd name="connsiteY72" fmla="*/ 0 h 458547"/>
                <a:gd name="connsiteX0" fmla="*/ 163039 w 350824"/>
                <a:gd name="connsiteY0" fmla="*/ 0 h 458547"/>
                <a:gd name="connsiteX1" fmla="*/ 168862 w 350824"/>
                <a:gd name="connsiteY1" fmla="*/ 0 h 458547"/>
                <a:gd name="connsiteX2" fmla="*/ 174684 w 350824"/>
                <a:gd name="connsiteY2" fmla="*/ 1456 h 458547"/>
                <a:gd name="connsiteX3" fmla="*/ 187786 w 350824"/>
                <a:gd name="connsiteY3" fmla="*/ 7279 h 458547"/>
                <a:gd name="connsiteX4" fmla="*/ 196520 w 350824"/>
                <a:gd name="connsiteY4" fmla="*/ 13102 h 458547"/>
                <a:gd name="connsiteX5" fmla="*/ 205254 w 350824"/>
                <a:gd name="connsiteY5" fmla="*/ 20380 h 458547"/>
                <a:gd name="connsiteX6" fmla="*/ 209621 w 350824"/>
                <a:gd name="connsiteY6" fmla="*/ 24747 h 458547"/>
                <a:gd name="connsiteX7" fmla="*/ 218355 w 350824"/>
                <a:gd name="connsiteY7" fmla="*/ 42216 h 458547"/>
                <a:gd name="connsiteX8" fmla="*/ 235824 w 350824"/>
                <a:gd name="connsiteY8" fmla="*/ 77153 h 458547"/>
                <a:gd name="connsiteX9" fmla="*/ 260571 w 350824"/>
                <a:gd name="connsiteY9" fmla="*/ 128102 h 458547"/>
                <a:gd name="connsiteX10" fmla="*/ 262026 w 350824"/>
                <a:gd name="connsiteY10" fmla="*/ 129558 h 458547"/>
                <a:gd name="connsiteX11" fmla="*/ 330444 w 350824"/>
                <a:gd name="connsiteY11" fmla="*/ 141204 h 458547"/>
                <a:gd name="connsiteX12" fmla="*/ 337723 w 350824"/>
                <a:gd name="connsiteY12" fmla="*/ 144115 h 458547"/>
                <a:gd name="connsiteX13" fmla="*/ 345001 w 350824"/>
                <a:gd name="connsiteY13" fmla="*/ 148482 h 458547"/>
                <a:gd name="connsiteX14" fmla="*/ 349368 w 350824"/>
                <a:gd name="connsiteY14" fmla="*/ 155761 h 458547"/>
                <a:gd name="connsiteX15" fmla="*/ 350824 w 350824"/>
                <a:gd name="connsiteY15" fmla="*/ 164495 h 458547"/>
                <a:gd name="connsiteX16" fmla="*/ 350824 w 350824"/>
                <a:gd name="connsiteY16" fmla="*/ 170318 h 458547"/>
                <a:gd name="connsiteX17" fmla="*/ 349368 w 350824"/>
                <a:gd name="connsiteY17" fmla="*/ 174685 h 458547"/>
                <a:gd name="connsiteX18" fmla="*/ 347913 w 350824"/>
                <a:gd name="connsiteY18" fmla="*/ 179052 h 458547"/>
                <a:gd name="connsiteX19" fmla="*/ 345001 w 350824"/>
                <a:gd name="connsiteY19" fmla="*/ 181963 h 458547"/>
                <a:gd name="connsiteX20" fmla="*/ 340634 w 350824"/>
                <a:gd name="connsiteY20" fmla="*/ 184875 h 458547"/>
                <a:gd name="connsiteX21" fmla="*/ 336267 w 350824"/>
                <a:gd name="connsiteY21" fmla="*/ 187786 h 458547"/>
                <a:gd name="connsiteX22" fmla="*/ 331900 w 350824"/>
                <a:gd name="connsiteY22" fmla="*/ 187786 h 458547"/>
                <a:gd name="connsiteX23" fmla="*/ 327533 w 350824"/>
                <a:gd name="connsiteY23" fmla="*/ 189242 h 458547"/>
                <a:gd name="connsiteX24" fmla="*/ 324621 w 350824"/>
                <a:gd name="connsiteY24" fmla="*/ 189242 h 458547"/>
                <a:gd name="connsiteX25" fmla="*/ 237279 w 350824"/>
                <a:gd name="connsiteY25" fmla="*/ 171773 h 458547"/>
                <a:gd name="connsiteX26" fmla="*/ 232912 w 350824"/>
                <a:gd name="connsiteY26" fmla="*/ 168862 h 458547"/>
                <a:gd name="connsiteX27" fmla="*/ 228545 w 350824"/>
                <a:gd name="connsiteY27" fmla="*/ 165951 h 458547"/>
                <a:gd name="connsiteX28" fmla="*/ 222722 w 350824"/>
                <a:gd name="connsiteY28" fmla="*/ 158672 h 458547"/>
                <a:gd name="connsiteX29" fmla="*/ 202343 w 350824"/>
                <a:gd name="connsiteY29" fmla="*/ 116457 h 458547"/>
                <a:gd name="connsiteX30" fmla="*/ 187786 w 350824"/>
                <a:gd name="connsiteY30" fmla="*/ 187786 h 458547"/>
                <a:gd name="connsiteX31" fmla="*/ 256204 w 350824"/>
                <a:gd name="connsiteY31" fmla="*/ 262027 h 458547"/>
                <a:gd name="connsiteX32" fmla="*/ 259115 w 350824"/>
                <a:gd name="connsiteY32" fmla="*/ 263483 h 458547"/>
                <a:gd name="connsiteX33" fmla="*/ 262026 w 350824"/>
                <a:gd name="connsiteY33" fmla="*/ 269306 h 458547"/>
                <a:gd name="connsiteX34" fmla="*/ 264938 w 350824"/>
                <a:gd name="connsiteY34" fmla="*/ 278040 h 458547"/>
                <a:gd name="connsiteX35" fmla="*/ 266393 w 350824"/>
                <a:gd name="connsiteY35" fmla="*/ 292597 h 458547"/>
                <a:gd name="connsiteX36" fmla="*/ 266393 w 350824"/>
                <a:gd name="connsiteY36" fmla="*/ 362471 h 458547"/>
                <a:gd name="connsiteX37" fmla="*/ 266393 w 350824"/>
                <a:gd name="connsiteY37" fmla="*/ 429433 h 458547"/>
                <a:gd name="connsiteX38" fmla="*/ 266393 w 350824"/>
                <a:gd name="connsiteY38" fmla="*/ 430889 h 458547"/>
                <a:gd name="connsiteX39" fmla="*/ 266393 w 350824"/>
                <a:gd name="connsiteY39" fmla="*/ 433800 h 458547"/>
                <a:gd name="connsiteX40" fmla="*/ 264938 w 350824"/>
                <a:gd name="connsiteY40" fmla="*/ 438167 h 458547"/>
                <a:gd name="connsiteX41" fmla="*/ 263482 w 350824"/>
                <a:gd name="connsiteY41" fmla="*/ 443990 h 458547"/>
                <a:gd name="connsiteX42" fmla="*/ 260571 w 350824"/>
                <a:gd name="connsiteY42" fmla="*/ 448357 h 458547"/>
                <a:gd name="connsiteX43" fmla="*/ 256204 w 350824"/>
                <a:gd name="connsiteY43" fmla="*/ 451269 h 458547"/>
                <a:gd name="connsiteX44" fmla="*/ 253292 w 350824"/>
                <a:gd name="connsiteY44" fmla="*/ 454180 h 458547"/>
                <a:gd name="connsiteX45" fmla="*/ 248925 w 350824"/>
                <a:gd name="connsiteY45" fmla="*/ 457092 h 458547"/>
                <a:gd name="connsiteX46" fmla="*/ 243102 w 350824"/>
                <a:gd name="connsiteY46" fmla="*/ 458547 h 458547"/>
                <a:gd name="connsiteX47" fmla="*/ 237279 w 350824"/>
                <a:gd name="connsiteY47" fmla="*/ 458547 h 458547"/>
                <a:gd name="connsiteX48" fmla="*/ 232912 w 350824"/>
                <a:gd name="connsiteY48" fmla="*/ 458547 h 458547"/>
                <a:gd name="connsiteX49" fmla="*/ 227090 w 350824"/>
                <a:gd name="connsiteY49" fmla="*/ 457092 h 458547"/>
                <a:gd name="connsiteX50" fmla="*/ 222722 w 350824"/>
                <a:gd name="connsiteY50" fmla="*/ 454180 h 458547"/>
                <a:gd name="connsiteX51" fmla="*/ 219811 w 350824"/>
                <a:gd name="connsiteY51" fmla="*/ 451269 h 458547"/>
                <a:gd name="connsiteX52" fmla="*/ 215444 w 350824"/>
                <a:gd name="connsiteY52" fmla="*/ 448357 h 458547"/>
                <a:gd name="connsiteX53" fmla="*/ 212533 w 350824"/>
                <a:gd name="connsiteY53" fmla="*/ 443990 h 458547"/>
                <a:gd name="connsiteX54" fmla="*/ 211077 w 350824"/>
                <a:gd name="connsiteY54" fmla="*/ 438167 h 458547"/>
                <a:gd name="connsiteX55" fmla="*/ 209621 w 350824"/>
                <a:gd name="connsiteY55" fmla="*/ 433800 h 458547"/>
                <a:gd name="connsiteX56" fmla="*/ 209621 w 350824"/>
                <a:gd name="connsiteY56" fmla="*/ 307154 h 458547"/>
                <a:gd name="connsiteX57" fmla="*/ 138292 w 350824"/>
                <a:gd name="connsiteY57" fmla="*/ 235824 h 458547"/>
                <a:gd name="connsiteX58" fmla="*/ 125191 w 350824"/>
                <a:gd name="connsiteY58" fmla="*/ 315888 h 458547"/>
                <a:gd name="connsiteX59" fmla="*/ 122279 w 350824"/>
                <a:gd name="connsiteY59" fmla="*/ 324622 h 458547"/>
                <a:gd name="connsiteX60" fmla="*/ 113545 w 350824"/>
                <a:gd name="connsiteY60" fmla="*/ 336268 h 458547"/>
                <a:gd name="connsiteX61" fmla="*/ 13102 w 350824"/>
                <a:gd name="connsiteY61" fmla="*/ 451269 h 458547"/>
                <a:gd name="connsiteX62" fmla="*/ 0 w 350824"/>
                <a:gd name="connsiteY62" fmla="*/ 454180 h 458547"/>
                <a:gd name="connsiteX63" fmla="*/ 56773 w 350824"/>
                <a:gd name="connsiteY63" fmla="*/ 314432 h 458547"/>
                <a:gd name="connsiteX64" fmla="*/ 78608 w 350824"/>
                <a:gd name="connsiteY64" fmla="*/ 190698 h 458547"/>
                <a:gd name="connsiteX65" fmla="*/ 90254 w 350824"/>
                <a:gd name="connsiteY65" fmla="*/ 138292 h 458547"/>
                <a:gd name="connsiteX66" fmla="*/ 99358 w 350824"/>
                <a:gd name="connsiteY66" fmla="*/ 93909 h 458547"/>
                <a:gd name="connsiteX67" fmla="*/ 119194 w 350824"/>
                <a:gd name="connsiteY67" fmla="*/ 16944 h 458547"/>
                <a:gd name="connsiteX68" fmla="*/ 141203 w 350824"/>
                <a:gd name="connsiteY68" fmla="*/ 4367 h 458547"/>
                <a:gd name="connsiteX69" fmla="*/ 144115 w 350824"/>
                <a:gd name="connsiteY69" fmla="*/ 2912 h 458547"/>
                <a:gd name="connsiteX70" fmla="*/ 151393 w 350824"/>
                <a:gd name="connsiteY70" fmla="*/ 1456 h 458547"/>
                <a:gd name="connsiteX71" fmla="*/ 163039 w 350824"/>
                <a:gd name="connsiteY71" fmla="*/ 0 h 458547"/>
                <a:gd name="connsiteX0" fmla="*/ 149937 w 337722"/>
                <a:gd name="connsiteY0" fmla="*/ 0 h 458547"/>
                <a:gd name="connsiteX1" fmla="*/ 155760 w 337722"/>
                <a:gd name="connsiteY1" fmla="*/ 0 h 458547"/>
                <a:gd name="connsiteX2" fmla="*/ 161582 w 337722"/>
                <a:gd name="connsiteY2" fmla="*/ 1456 h 458547"/>
                <a:gd name="connsiteX3" fmla="*/ 174684 w 337722"/>
                <a:gd name="connsiteY3" fmla="*/ 7279 h 458547"/>
                <a:gd name="connsiteX4" fmla="*/ 183418 w 337722"/>
                <a:gd name="connsiteY4" fmla="*/ 13102 h 458547"/>
                <a:gd name="connsiteX5" fmla="*/ 192152 w 337722"/>
                <a:gd name="connsiteY5" fmla="*/ 20380 h 458547"/>
                <a:gd name="connsiteX6" fmla="*/ 196519 w 337722"/>
                <a:gd name="connsiteY6" fmla="*/ 24747 h 458547"/>
                <a:gd name="connsiteX7" fmla="*/ 205253 w 337722"/>
                <a:gd name="connsiteY7" fmla="*/ 42216 h 458547"/>
                <a:gd name="connsiteX8" fmla="*/ 222722 w 337722"/>
                <a:gd name="connsiteY8" fmla="*/ 77153 h 458547"/>
                <a:gd name="connsiteX9" fmla="*/ 247469 w 337722"/>
                <a:gd name="connsiteY9" fmla="*/ 128102 h 458547"/>
                <a:gd name="connsiteX10" fmla="*/ 248924 w 337722"/>
                <a:gd name="connsiteY10" fmla="*/ 129558 h 458547"/>
                <a:gd name="connsiteX11" fmla="*/ 317342 w 337722"/>
                <a:gd name="connsiteY11" fmla="*/ 141204 h 458547"/>
                <a:gd name="connsiteX12" fmla="*/ 324621 w 337722"/>
                <a:gd name="connsiteY12" fmla="*/ 144115 h 458547"/>
                <a:gd name="connsiteX13" fmla="*/ 331899 w 337722"/>
                <a:gd name="connsiteY13" fmla="*/ 148482 h 458547"/>
                <a:gd name="connsiteX14" fmla="*/ 336266 w 337722"/>
                <a:gd name="connsiteY14" fmla="*/ 155761 h 458547"/>
                <a:gd name="connsiteX15" fmla="*/ 337722 w 337722"/>
                <a:gd name="connsiteY15" fmla="*/ 164495 h 458547"/>
                <a:gd name="connsiteX16" fmla="*/ 337722 w 337722"/>
                <a:gd name="connsiteY16" fmla="*/ 170318 h 458547"/>
                <a:gd name="connsiteX17" fmla="*/ 336266 w 337722"/>
                <a:gd name="connsiteY17" fmla="*/ 174685 h 458547"/>
                <a:gd name="connsiteX18" fmla="*/ 334811 w 337722"/>
                <a:gd name="connsiteY18" fmla="*/ 179052 h 458547"/>
                <a:gd name="connsiteX19" fmla="*/ 331899 w 337722"/>
                <a:gd name="connsiteY19" fmla="*/ 181963 h 458547"/>
                <a:gd name="connsiteX20" fmla="*/ 327532 w 337722"/>
                <a:gd name="connsiteY20" fmla="*/ 184875 h 458547"/>
                <a:gd name="connsiteX21" fmla="*/ 323165 w 337722"/>
                <a:gd name="connsiteY21" fmla="*/ 187786 h 458547"/>
                <a:gd name="connsiteX22" fmla="*/ 318798 w 337722"/>
                <a:gd name="connsiteY22" fmla="*/ 187786 h 458547"/>
                <a:gd name="connsiteX23" fmla="*/ 314431 w 337722"/>
                <a:gd name="connsiteY23" fmla="*/ 189242 h 458547"/>
                <a:gd name="connsiteX24" fmla="*/ 311519 w 337722"/>
                <a:gd name="connsiteY24" fmla="*/ 189242 h 458547"/>
                <a:gd name="connsiteX25" fmla="*/ 224177 w 337722"/>
                <a:gd name="connsiteY25" fmla="*/ 171773 h 458547"/>
                <a:gd name="connsiteX26" fmla="*/ 219810 w 337722"/>
                <a:gd name="connsiteY26" fmla="*/ 168862 h 458547"/>
                <a:gd name="connsiteX27" fmla="*/ 215443 w 337722"/>
                <a:gd name="connsiteY27" fmla="*/ 165951 h 458547"/>
                <a:gd name="connsiteX28" fmla="*/ 209620 w 337722"/>
                <a:gd name="connsiteY28" fmla="*/ 158672 h 458547"/>
                <a:gd name="connsiteX29" fmla="*/ 189241 w 337722"/>
                <a:gd name="connsiteY29" fmla="*/ 116457 h 458547"/>
                <a:gd name="connsiteX30" fmla="*/ 174684 w 337722"/>
                <a:gd name="connsiteY30" fmla="*/ 187786 h 458547"/>
                <a:gd name="connsiteX31" fmla="*/ 243102 w 337722"/>
                <a:gd name="connsiteY31" fmla="*/ 262027 h 458547"/>
                <a:gd name="connsiteX32" fmla="*/ 246013 w 337722"/>
                <a:gd name="connsiteY32" fmla="*/ 263483 h 458547"/>
                <a:gd name="connsiteX33" fmla="*/ 248924 w 337722"/>
                <a:gd name="connsiteY33" fmla="*/ 269306 h 458547"/>
                <a:gd name="connsiteX34" fmla="*/ 251836 w 337722"/>
                <a:gd name="connsiteY34" fmla="*/ 278040 h 458547"/>
                <a:gd name="connsiteX35" fmla="*/ 253291 w 337722"/>
                <a:gd name="connsiteY35" fmla="*/ 292597 h 458547"/>
                <a:gd name="connsiteX36" fmla="*/ 253291 w 337722"/>
                <a:gd name="connsiteY36" fmla="*/ 362471 h 458547"/>
                <a:gd name="connsiteX37" fmla="*/ 253291 w 337722"/>
                <a:gd name="connsiteY37" fmla="*/ 429433 h 458547"/>
                <a:gd name="connsiteX38" fmla="*/ 253291 w 337722"/>
                <a:gd name="connsiteY38" fmla="*/ 430889 h 458547"/>
                <a:gd name="connsiteX39" fmla="*/ 253291 w 337722"/>
                <a:gd name="connsiteY39" fmla="*/ 433800 h 458547"/>
                <a:gd name="connsiteX40" fmla="*/ 251836 w 337722"/>
                <a:gd name="connsiteY40" fmla="*/ 438167 h 458547"/>
                <a:gd name="connsiteX41" fmla="*/ 250380 w 337722"/>
                <a:gd name="connsiteY41" fmla="*/ 443990 h 458547"/>
                <a:gd name="connsiteX42" fmla="*/ 247469 w 337722"/>
                <a:gd name="connsiteY42" fmla="*/ 448357 h 458547"/>
                <a:gd name="connsiteX43" fmla="*/ 243102 w 337722"/>
                <a:gd name="connsiteY43" fmla="*/ 451269 h 458547"/>
                <a:gd name="connsiteX44" fmla="*/ 240190 w 337722"/>
                <a:gd name="connsiteY44" fmla="*/ 454180 h 458547"/>
                <a:gd name="connsiteX45" fmla="*/ 235823 w 337722"/>
                <a:gd name="connsiteY45" fmla="*/ 457092 h 458547"/>
                <a:gd name="connsiteX46" fmla="*/ 230000 w 337722"/>
                <a:gd name="connsiteY46" fmla="*/ 458547 h 458547"/>
                <a:gd name="connsiteX47" fmla="*/ 224177 w 337722"/>
                <a:gd name="connsiteY47" fmla="*/ 458547 h 458547"/>
                <a:gd name="connsiteX48" fmla="*/ 219810 w 337722"/>
                <a:gd name="connsiteY48" fmla="*/ 458547 h 458547"/>
                <a:gd name="connsiteX49" fmla="*/ 213988 w 337722"/>
                <a:gd name="connsiteY49" fmla="*/ 457092 h 458547"/>
                <a:gd name="connsiteX50" fmla="*/ 209620 w 337722"/>
                <a:gd name="connsiteY50" fmla="*/ 454180 h 458547"/>
                <a:gd name="connsiteX51" fmla="*/ 206709 w 337722"/>
                <a:gd name="connsiteY51" fmla="*/ 451269 h 458547"/>
                <a:gd name="connsiteX52" fmla="*/ 202342 w 337722"/>
                <a:gd name="connsiteY52" fmla="*/ 448357 h 458547"/>
                <a:gd name="connsiteX53" fmla="*/ 199431 w 337722"/>
                <a:gd name="connsiteY53" fmla="*/ 443990 h 458547"/>
                <a:gd name="connsiteX54" fmla="*/ 197975 w 337722"/>
                <a:gd name="connsiteY54" fmla="*/ 438167 h 458547"/>
                <a:gd name="connsiteX55" fmla="*/ 196519 w 337722"/>
                <a:gd name="connsiteY55" fmla="*/ 433800 h 458547"/>
                <a:gd name="connsiteX56" fmla="*/ 196519 w 337722"/>
                <a:gd name="connsiteY56" fmla="*/ 307154 h 458547"/>
                <a:gd name="connsiteX57" fmla="*/ 125190 w 337722"/>
                <a:gd name="connsiteY57" fmla="*/ 235824 h 458547"/>
                <a:gd name="connsiteX58" fmla="*/ 112089 w 337722"/>
                <a:gd name="connsiteY58" fmla="*/ 315888 h 458547"/>
                <a:gd name="connsiteX59" fmla="*/ 109177 w 337722"/>
                <a:gd name="connsiteY59" fmla="*/ 324622 h 458547"/>
                <a:gd name="connsiteX60" fmla="*/ 100443 w 337722"/>
                <a:gd name="connsiteY60" fmla="*/ 336268 h 458547"/>
                <a:gd name="connsiteX61" fmla="*/ 0 w 337722"/>
                <a:gd name="connsiteY61" fmla="*/ 451269 h 458547"/>
                <a:gd name="connsiteX62" fmla="*/ 43671 w 337722"/>
                <a:gd name="connsiteY62" fmla="*/ 314432 h 458547"/>
                <a:gd name="connsiteX63" fmla="*/ 65506 w 337722"/>
                <a:gd name="connsiteY63" fmla="*/ 190698 h 458547"/>
                <a:gd name="connsiteX64" fmla="*/ 77152 w 337722"/>
                <a:gd name="connsiteY64" fmla="*/ 138292 h 458547"/>
                <a:gd name="connsiteX65" fmla="*/ 86256 w 337722"/>
                <a:gd name="connsiteY65" fmla="*/ 93909 h 458547"/>
                <a:gd name="connsiteX66" fmla="*/ 106092 w 337722"/>
                <a:gd name="connsiteY66" fmla="*/ 16944 h 458547"/>
                <a:gd name="connsiteX67" fmla="*/ 128101 w 337722"/>
                <a:gd name="connsiteY67" fmla="*/ 4367 h 458547"/>
                <a:gd name="connsiteX68" fmla="*/ 131013 w 337722"/>
                <a:gd name="connsiteY68" fmla="*/ 2912 h 458547"/>
                <a:gd name="connsiteX69" fmla="*/ 138291 w 337722"/>
                <a:gd name="connsiteY69" fmla="*/ 1456 h 458547"/>
                <a:gd name="connsiteX70" fmla="*/ 149937 w 337722"/>
                <a:gd name="connsiteY70" fmla="*/ 0 h 458547"/>
                <a:gd name="connsiteX0" fmla="*/ 106266 w 294051"/>
                <a:gd name="connsiteY0" fmla="*/ 0 h 458547"/>
                <a:gd name="connsiteX1" fmla="*/ 112089 w 294051"/>
                <a:gd name="connsiteY1" fmla="*/ 0 h 458547"/>
                <a:gd name="connsiteX2" fmla="*/ 117911 w 294051"/>
                <a:gd name="connsiteY2" fmla="*/ 1456 h 458547"/>
                <a:gd name="connsiteX3" fmla="*/ 131013 w 294051"/>
                <a:gd name="connsiteY3" fmla="*/ 7279 h 458547"/>
                <a:gd name="connsiteX4" fmla="*/ 139747 w 294051"/>
                <a:gd name="connsiteY4" fmla="*/ 13102 h 458547"/>
                <a:gd name="connsiteX5" fmla="*/ 148481 w 294051"/>
                <a:gd name="connsiteY5" fmla="*/ 20380 h 458547"/>
                <a:gd name="connsiteX6" fmla="*/ 152848 w 294051"/>
                <a:gd name="connsiteY6" fmla="*/ 24747 h 458547"/>
                <a:gd name="connsiteX7" fmla="*/ 161582 w 294051"/>
                <a:gd name="connsiteY7" fmla="*/ 42216 h 458547"/>
                <a:gd name="connsiteX8" fmla="*/ 179051 w 294051"/>
                <a:gd name="connsiteY8" fmla="*/ 77153 h 458547"/>
                <a:gd name="connsiteX9" fmla="*/ 203798 w 294051"/>
                <a:gd name="connsiteY9" fmla="*/ 128102 h 458547"/>
                <a:gd name="connsiteX10" fmla="*/ 205253 w 294051"/>
                <a:gd name="connsiteY10" fmla="*/ 129558 h 458547"/>
                <a:gd name="connsiteX11" fmla="*/ 273671 w 294051"/>
                <a:gd name="connsiteY11" fmla="*/ 141204 h 458547"/>
                <a:gd name="connsiteX12" fmla="*/ 280950 w 294051"/>
                <a:gd name="connsiteY12" fmla="*/ 144115 h 458547"/>
                <a:gd name="connsiteX13" fmla="*/ 288228 w 294051"/>
                <a:gd name="connsiteY13" fmla="*/ 148482 h 458547"/>
                <a:gd name="connsiteX14" fmla="*/ 292595 w 294051"/>
                <a:gd name="connsiteY14" fmla="*/ 155761 h 458547"/>
                <a:gd name="connsiteX15" fmla="*/ 294051 w 294051"/>
                <a:gd name="connsiteY15" fmla="*/ 164495 h 458547"/>
                <a:gd name="connsiteX16" fmla="*/ 294051 w 294051"/>
                <a:gd name="connsiteY16" fmla="*/ 170318 h 458547"/>
                <a:gd name="connsiteX17" fmla="*/ 292595 w 294051"/>
                <a:gd name="connsiteY17" fmla="*/ 174685 h 458547"/>
                <a:gd name="connsiteX18" fmla="*/ 291140 w 294051"/>
                <a:gd name="connsiteY18" fmla="*/ 179052 h 458547"/>
                <a:gd name="connsiteX19" fmla="*/ 288228 w 294051"/>
                <a:gd name="connsiteY19" fmla="*/ 181963 h 458547"/>
                <a:gd name="connsiteX20" fmla="*/ 283861 w 294051"/>
                <a:gd name="connsiteY20" fmla="*/ 184875 h 458547"/>
                <a:gd name="connsiteX21" fmla="*/ 279494 w 294051"/>
                <a:gd name="connsiteY21" fmla="*/ 187786 h 458547"/>
                <a:gd name="connsiteX22" fmla="*/ 275127 w 294051"/>
                <a:gd name="connsiteY22" fmla="*/ 187786 h 458547"/>
                <a:gd name="connsiteX23" fmla="*/ 270760 w 294051"/>
                <a:gd name="connsiteY23" fmla="*/ 189242 h 458547"/>
                <a:gd name="connsiteX24" fmla="*/ 267848 w 294051"/>
                <a:gd name="connsiteY24" fmla="*/ 189242 h 458547"/>
                <a:gd name="connsiteX25" fmla="*/ 180506 w 294051"/>
                <a:gd name="connsiteY25" fmla="*/ 171773 h 458547"/>
                <a:gd name="connsiteX26" fmla="*/ 176139 w 294051"/>
                <a:gd name="connsiteY26" fmla="*/ 168862 h 458547"/>
                <a:gd name="connsiteX27" fmla="*/ 171772 w 294051"/>
                <a:gd name="connsiteY27" fmla="*/ 165951 h 458547"/>
                <a:gd name="connsiteX28" fmla="*/ 165949 w 294051"/>
                <a:gd name="connsiteY28" fmla="*/ 158672 h 458547"/>
                <a:gd name="connsiteX29" fmla="*/ 145570 w 294051"/>
                <a:gd name="connsiteY29" fmla="*/ 116457 h 458547"/>
                <a:gd name="connsiteX30" fmla="*/ 131013 w 294051"/>
                <a:gd name="connsiteY30" fmla="*/ 187786 h 458547"/>
                <a:gd name="connsiteX31" fmla="*/ 199431 w 294051"/>
                <a:gd name="connsiteY31" fmla="*/ 262027 h 458547"/>
                <a:gd name="connsiteX32" fmla="*/ 202342 w 294051"/>
                <a:gd name="connsiteY32" fmla="*/ 263483 h 458547"/>
                <a:gd name="connsiteX33" fmla="*/ 205253 w 294051"/>
                <a:gd name="connsiteY33" fmla="*/ 269306 h 458547"/>
                <a:gd name="connsiteX34" fmla="*/ 208165 w 294051"/>
                <a:gd name="connsiteY34" fmla="*/ 278040 h 458547"/>
                <a:gd name="connsiteX35" fmla="*/ 209620 w 294051"/>
                <a:gd name="connsiteY35" fmla="*/ 292597 h 458547"/>
                <a:gd name="connsiteX36" fmla="*/ 209620 w 294051"/>
                <a:gd name="connsiteY36" fmla="*/ 362471 h 458547"/>
                <a:gd name="connsiteX37" fmla="*/ 209620 w 294051"/>
                <a:gd name="connsiteY37" fmla="*/ 429433 h 458547"/>
                <a:gd name="connsiteX38" fmla="*/ 209620 w 294051"/>
                <a:gd name="connsiteY38" fmla="*/ 430889 h 458547"/>
                <a:gd name="connsiteX39" fmla="*/ 209620 w 294051"/>
                <a:gd name="connsiteY39" fmla="*/ 433800 h 458547"/>
                <a:gd name="connsiteX40" fmla="*/ 208165 w 294051"/>
                <a:gd name="connsiteY40" fmla="*/ 438167 h 458547"/>
                <a:gd name="connsiteX41" fmla="*/ 206709 w 294051"/>
                <a:gd name="connsiteY41" fmla="*/ 443990 h 458547"/>
                <a:gd name="connsiteX42" fmla="*/ 203798 w 294051"/>
                <a:gd name="connsiteY42" fmla="*/ 448357 h 458547"/>
                <a:gd name="connsiteX43" fmla="*/ 199431 w 294051"/>
                <a:gd name="connsiteY43" fmla="*/ 451269 h 458547"/>
                <a:gd name="connsiteX44" fmla="*/ 196519 w 294051"/>
                <a:gd name="connsiteY44" fmla="*/ 454180 h 458547"/>
                <a:gd name="connsiteX45" fmla="*/ 192152 w 294051"/>
                <a:gd name="connsiteY45" fmla="*/ 457092 h 458547"/>
                <a:gd name="connsiteX46" fmla="*/ 186329 w 294051"/>
                <a:gd name="connsiteY46" fmla="*/ 458547 h 458547"/>
                <a:gd name="connsiteX47" fmla="*/ 180506 w 294051"/>
                <a:gd name="connsiteY47" fmla="*/ 458547 h 458547"/>
                <a:gd name="connsiteX48" fmla="*/ 176139 w 294051"/>
                <a:gd name="connsiteY48" fmla="*/ 458547 h 458547"/>
                <a:gd name="connsiteX49" fmla="*/ 170317 w 294051"/>
                <a:gd name="connsiteY49" fmla="*/ 457092 h 458547"/>
                <a:gd name="connsiteX50" fmla="*/ 165949 w 294051"/>
                <a:gd name="connsiteY50" fmla="*/ 454180 h 458547"/>
                <a:gd name="connsiteX51" fmla="*/ 163038 w 294051"/>
                <a:gd name="connsiteY51" fmla="*/ 451269 h 458547"/>
                <a:gd name="connsiteX52" fmla="*/ 158671 w 294051"/>
                <a:gd name="connsiteY52" fmla="*/ 448357 h 458547"/>
                <a:gd name="connsiteX53" fmla="*/ 155760 w 294051"/>
                <a:gd name="connsiteY53" fmla="*/ 443990 h 458547"/>
                <a:gd name="connsiteX54" fmla="*/ 154304 w 294051"/>
                <a:gd name="connsiteY54" fmla="*/ 438167 h 458547"/>
                <a:gd name="connsiteX55" fmla="*/ 152848 w 294051"/>
                <a:gd name="connsiteY55" fmla="*/ 433800 h 458547"/>
                <a:gd name="connsiteX56" fmla="*/ 152848 w 294051"/>
                <a:gd name="connsiteY56" fmla="*/ 307154 h 458547"/>
                <a:gd name="connsiteX57" fmla="*/ 81519 w 294051"/>
                <a:gd name="connsiteY57" fmla="*/ 235824 h 458547"/>
                <a:gd name="connsiteX58" fmla="*/ 68418 w 294051"/>
                <a:gd name="connsiteY58" fmla="*/ 315888 h 458547"/>
                <a:gd name="connsiteX59" fmla="*/ 65506 w 294051"/>
                <a:gd name="connsiteY59" fmla="*/ 324622 h 458547"/>
                <a:gd name="connsiteX60" fmla="*/ 56772 w 294051"/>
                <a:gd name="connsiteY60" fmla="*/ 336268 h 458547"/>
                <a:gd name="connsiteX61" fmla="*/ 0 w 294051"/>
                <a:gd name="connsiteY61" fmla="*/ 314432 h 458547"/>
                <a:gd name="connsiteX62" fmla="*/ 21835 w 294051"/>
                <a:gd name="connsiteY62" fmla="*/ 190698 h 458547"/>
                <a:gd name="connsiteX63" fmla="*/ 33481 w 294051"/>
                <a:gd name="connsiteY63" fmla="*/ 138292 h 458547"/>
                <a:gd name="connsiteX64" fmla="*/ 42585 w 294051"/>
                <a:gd name="connsiteY64" fmla="*/ 93909 h 458547"/>
                <a:gd name="connsiteX65" fmla="*/ 62421 w 294051"/>
                <a:gd name="connsiteY65" fmla="*/ 16944 h 458547"/>
                <a:gd name="connsiteX66" fmla="*/ 84430 w 294051"/>
                <a:gd name="connsiteY66" fmla="*/ 4367 h 458547"/>
                <a:gd name="connsiteX67" fmla="*/ 87342 w 294051"/>
                <a:gd name="connsiteY67" fmla="*/ 2912 h 458547"/>
                <a:gd name="connsiteX68" fmla="*/ 94620 w 294051"/>
                <a:gd name="connsiteY68" fmla="*/ 1456 h 458547"/>
                <a:gd name="connsiteX69" fmla="*/ 106266 w 294051"/>
                <a:gd name="connsiteY69" fmla="*/ 0 h 458547"/>
                <a:gd name="connsiteX0" fmla="*/ 84431 w 272216"/>
                <a:gd name="connsiteY0" fmla="*/ 0 h 458547"/>
                <a:gd name="connsiteX1" fmla="*/ 90254 w 272216"/>
                <a:gd name="connsiteY1" fmla="*/ 0 h 458547"/>
                <a:gd name="connsiteX2" fmla="*/ 96076 w 272216"/>
                <a:gd name="connsiteY2" fmla="*/ 1456 h 458547"/>
                <a:gd name="connsiteX3" fmla="*/ 109178 w 272216"/>
                <a:gd name="connsiteY3" fmla="*/ 7279 h 458547"/>
                <a:gd name="connsiteX4" fmla="*/ 117912 w 272216"/>
                <a:gd name="connsiteY4" fmla="*/ 13102 h 458547"/>
                <a:gd name="connsiteX5" fmla="*/ 126646 w 272216"/>
                <a:gd name="connsiteY5" fmla="*/ 20380 h 458547"/>
                <a:gd name="connsiteX6" fmla="*/ 131013 w 272216"/>
                <a:gd name="connsiteY6" fmla="*/ 24747 h 458547"/>
                <a:gd name="connsiteX7" fmla="*/ 139747 w 272216"/>
                <a:gd name="connsiteY7" fmla="*/ 42216 h 458547"/>
                <a:gd name="connsiteX8" fmla="*/ 157216 w 272216"/>
                <a:gd name="connsiteY8" fmla="*/ 77153 h 458547"/>
                <a:gd name="connsiteX9" fmla="*/ 181963 w 272216"/>
                <a:gd name="connsiteY9" fmla="*/ 128102 h 458547"/>
                <a:gd name="connsiteX10" fmla="*/ 183418 w 272216"/>
                <a:gd name="connsiteY10" fmla="*/ 129558 h 458547"/>
                <a:gd name="connsiteX11" fmla="*/ 251836 w 272216"/>
                <a:gd name="connsiteY11" fmla="*/ 141204 h 458547"/>
                <a:gd name="connsiteX12" fmla="*/ 259115 w 272216"/>
                <a:gd name="connsiteY12" fmla="*/ 144115 h 458547"/>
                <a:gd name="connsiteX13" fmla="*/ 266393 w 272216"/>
                <a:gd name="connsiteY13" fmla="*/ 148482 h 458547"/>
                <a:gd name="connsiteX14" fmla="*/ 270760 w 272216"/>
                <a:gd name="connsiteY14" fmla="*/ 155761 h 458547"/>
                <a:gd name="connsiteX15" fmla="*/ 272216 w 272216"/>
                <a:gd name="connsiteY15" fmla="*/ 164495 h 458547"/>
                <a:gd name="connsiteX16" fmla="*/ 272216 w 272216"/>
                <a:gd name="connsiteY16" fmla="*/ 170318 h 458547"/>
                <a:gd name="connsiteX17" fmla="*/ 270760 w 272216"/>
                <a:gd name="connsiteY17" fmla="*/ 174685 h 458547"/>
                <a:gd name="connsiteX18" fmla="*/ 269305 w 272216"/>
                <a:gd name="connsiteY18" fmla="*/ 179052 h 458547"/>
                <a:gd name="connsiteX19" fmla="*/ 266393 w 272216"/>
                <a:gd name="connsiteY19" fmla="*/ 181963 h 458547"/>
                <a:gd name="connsiteX20" fmla="*/ 262026 w 272216"/>
                <a:gd name="connsiteY20" fmla="*/ 184875 h 458547"/>
                <a:gd name="connsiteX21" fmla="*/ 257659 w 272216"/>
                <a:gd name="connsiteY21" fmla="*/ 187786 h 458547"/>
                <a:gd name="connsiteX22" fmla="*/ 253292 w 272216"/>
                <a:gd name="connsiteY22" fmla="*/ 187786 h 458547"/>
                <a:gd name="connsiteX23" fmla="*/ 248925 w 272216"/>
                <a:gd name="connsiteY23" fmla="*/ 189242 h 458547"/>
                <a:gd name="connsiteX24" fmla="*/ 246013 w 272216"/>
                <a:gd name="connsiteY24" fmla="*/ 189242 h 458547"/>
                <a:gd name="connsiteX25" fmla="*/ 158671 w 272216"/>
                <a:gd name="connsiteY25" fmla="*/ 171773 h 458547"/>
                <a:gd name="connsiteX26" fmla="*/ 154304 w 272216"/>
                <a:gd name="connsiteY26" fmla="*/ 168862 h 458547"/>
                <a:gd name="connsiteX27" fmla="*/ 149937 w 272216"/>
                <a:gd name="connsiteY27" fmla="*/ 165951 h 458547"/>
                <a:gd name="connsiteX28" fmla="*/ 144114 w 272216"/>
                <a:gd name="connsiteY28" fmla="*/ 158672 h 458547"/>
                <a:gd name="connsiteX29" fmla="*/ 123735 w 272216"/>
                <a:gd name="connsiteY29" fmla="*/ 116457 h 458547"/>
                <a:gd name="connsiteX30" fmla="*/ 109178 w 272216"/>
                <a:gd name="connsiteY30" fmla="*/ 187786 h 458547"/>
                <a:gd name="connsiteX31" fmla="*/ 177596 w 272216"/>
                <a:gd name="connsiteY31" fmla="*/ 262027 h 458547"/>
                <a:gd name="connsiteX32" fmla="*/ 180507 w 272216"/>
                <a:gd name="connsiteY32" fmla="*/ 263483 h 458547"/>
                <a:gd name="connsiteX33" fmla="*/ 183418 w 272216"/>
                <a:gd name="connsiteY33" fmla="*/ 269306 h 458547"/>
                <a:gd name="connsiteX34" fmla="*/ 186330 w 272216"/>
                <a:gd name="connsiteY34" fmla="*/ 278040 h 458547"/>
                <a:gd name="connsiteX35" fmla="*/ 187785 w 272216"/>
                <a:gd name="connsiteY35" fmla="*/ 292597 h 458547"/>
                <a:gd name="connsiteX36" fmla="*/ 187785 w 272216"/>
                <a:gd name="connsiteY36" fmla="*/ 362471 h 458547"/>
                <a:gd name="connsiteX37" fmla="*/ 187785 w 272216"/>
                <a:gd name="connsiteY37" fmla="*/ 429433 h 458547"/>
                <a:gd name="connsiteX38" fmla="*/ 187785 w 272216"/>
                <a:gd name="connsiteY38" fmla="*/ 430889 h 458547"/>
                <a:gd name="connsiteX39" fmla="*/ 187785 w 272216"/>
                <a:gd name="connsiteY39" fmla="*/ 433800 h 458547"/>
                <a:gd name="connsiteX40" fmla="*/ 186330 w 272216"/>
                <a:gd name="connsiteY40" fmla="*/ 438167 h 458547"/>
                <a:gd name="connsiteX41" fmla="*/ 184874 w 272216"/>
                <a:gd name="connsiteY41" fmla="*/ 443990 h 458547"/>
                <a:gd name="connsiteX42" fmla="*/ 181963 w 272216"/>
                <a:gd name="connsiteY42" fmla="*/ 448357 h 458547"/>
                <a:gd name="connsiteX43" fmla="*/ 177596 w 272216"/>
                <a:gd name="connsiteY43" fmla="*/ 451269 h 458547"/>
                <a:gd name="connsiteX44" fmla="*/ 174684 w 272216"/>
                <a:gd name="connsiteY44" fmla="*/ 454180 h 458547"/>
                <a:gd name="connsiteX45" fmla="*/ 170317 w 272216"/>
                <a:gd name="connsiteY45" fmla="*/ 457092 h 458547"/>
                <a:gd name="connsiteX46" fmla="*/ 164494 w 272216"/>
                <a:gd name="connsiteY46" fmla="*/ 458547 h 458547"/>
                <a:gd name="connsiteX47" fmla="*/ 158671 w 272216"/>
                <a:gd name="connsiteY47" fmla="*/ 458547 h 458547"/>
                <a:gd name="connsiteX48" fmla="*/ 154304 w 272216"/>
                <a:gd name="connsiteY48" fmla="*/ 458547 h 458547"/>
                <a:gd name="connsiteX49" fmla="*/ 148482 w 272216"/>
                <a:gd name="connsiteY49" fmla="*/ 457092 h 458547"/>
                <a:gd name="connsiteX50" fmla="*/ 144114 w 272216"/>
                <a:gd name="connsiteY50" fmla="*/ 454180 h 458547"/>
                <a:gd name="connsiteX51" fmla="*/ 141203 w 272216"/>
                <a:gd name="connsiteY51" fmla="*/ 451269 h 458547"/>
                <a:gd name="connsiteX52" fmla="*/ 136836 w 272216"/>
                <a:gd name="connsiteY52" fmla="*/ 448357 h 458547"/>
                <a:gd name="connsiteX53" fmla="*/ 133925 w 272216"/>
                <a:gd name="connsiteY53" fmla="*/ 443990 h 458547"/>
                <a:gd name="connsiteX54" fmla="*/ 132469 w 272216"/>
                <a:gd name="connsiteY54" fmla="*/ 438167 h 458547"/>
                <a:gd name="connsiteX55" fmla="*/ 131013 w 272216"/>
                <a:gd name="connsiteY55" fmla="*/ 433800 h 458547"/>
                <a:gd name="connsiteX56" fmla="*/ 131013 w 272216"/>
                <a:gd name="connsiteY56" fmla="*/ 307154 h 458547"/>
                <a:gd name="connsiteX57" fmla="*/ 59684 w 272216"/>
                <a:gd name="connsiteY57" fmla="*/ 235824 h 458547"/>
                <a:gd name="connsiteX58" fmla="*/ 46583 w 272216"/>
                <a:gd name="connsiteY58" fmla="*/ 315888 h 458547"/>
                <a:gd name="connsiteX59" fmla="*/ 43671 w 272216"/>
                <a:gd name="connsiteY59" fmla="*/ 324622 h 458547"/>
                <a:gd name="connsiteX60" fmla="*/ 34937 w 272216"/>
                <a:gd name="connsiteY60" fmla="*/ 336268 h 458547"/>
                <a:gd name="connsiteX61" fmla="*/ 0 w 272216"/>
                <a:gd name="connsiteY61" fmla="*/ 190698 h 458547"/>
                <a:gd name="connsiteX62" fmla="*/ 11646 w 272216"/>
                <a:gd name="connsiteY62" fmla="*/ 138292 h 458547"/>
                <a:gd name="connsiteX63" fmla="*/ 20750 w 272216"/>
                <a:gd name="connsiteY63" fmla="*/ 93909 h 458547"/>
                <a:gd name="connsiteX64" fmla="*/ 40586 w 272216"/>
                <a:gd name="connsiteY64" fmla="*/ 16944 h 458547"/>
                <a:gd name="connsiteX65" fmla="*/ 62595 w 272216"/>
                <a:gd name="connsiteY65" fmla="*/ 4367 h 458547"/>
                <a:gd name="connsiteX66" fmla="*/ 65507 w 272216"/>
                <a:gd name="connsiteY66" fmla="*/ 2912 h 458547"/>
                <a:gd name="connsiteX67" fmla="*/ 72785 w 272216"/>
                <a:gd name="connsiteY67" fmla="*/ 1456 h 458547"/>
                <a:gd name="connsiteX68" fmla="*/ 84431 w 272216"/>
                <a:gd name="connsiteY68" fmla="*/ 0 h 458547"/>
                <a:gd name="connsiteX0" fmla="*/ 84431 w 272216"/>
                <a:gd name="connsiteY0" fmla="*/ 0 h 458547"/>
                <a:gd name="connsiteX1" fmla="*/ 90254 w 272216"/>
                <a:gd name="connsiteY1" fmla="*/ 0 h 458547"/>
                <a:gd name="connsiteX2" fmla="*/ 96076 w 272216"/>
                <a:gd name="connsiteY2" fmla="*/ 1456 h 458547"/>
                <a:gd name="connsiteX3" fmla="*/ 109178 w 272216"/>
                <a:gd name="connsiteY3" fmla="*/ 7279 h 458547"/>
                <a:gd name="connsiteX4" fmla="*/ 117912 w 272216"/>
                <a:gd name="connsiteY4" fmla="*/ 13102 h 458547"/>
                <a:gd name="connsiteX5" fmla="*/ 126646 w 272216"/>
                <a:gd name="connsiteY5" fmla="*/ 20380 h 458547"/>
                <a:gd name="connsiteX6" fmla="*/ 131013 w 272216"/>
                <a:gd name="connsiteY6" fmla="*/ 24747 h 458547"/>
                <a:gd name="connsiteX7" fmla="*/ 139747 w 272216"/>
                <a:gd name="connsiteY7" fmla="*/ 42216 h 458547"/>
                <a:gd name="connsiteX8" fmla="*/ 157216 w 272216"/>
                <a:gd name="connsiteY8" fmla="*/ 77153 h 458547"/>
                <a:gd name="connsiteX9" fmla="*/ 181963 w 272216"/>
                <a:gd name="connsiteY9" fmla="*/ 128102 h 458547"/>
                <a:gd name="connsiteX10" fmla="*/ 183418 w 272216"/>
                <a:gd name="connsiteY10" fmla="*/ 129558 h 458547"/>
                <a:gd name="connsiteX11" fmla="*/ 251836 w 272216"/>
                <a:gd name="connsiteY11" fmla="*/ 141204 h 458547"/>
                <a:gd name="connsiteX12" fmla="*/ 259115 w 272216"/>
                <a:gd name="connsiteY12" fmla="*/ 144115 h 458547"/>
                <a:gd name="connsiteX13" fmla="*/ 266393 w 272216"/>
                <a:gd name="connsiteY13" fmla="*/ 148482 h 458547"/>
                <a:gd name="connsiteX14" fmla="*/ 270760 w 272216"/>
                <a:gd name="connsiteY14" fmla="*/ 155761 h 458547"/>
                <a:gd name="connsiteX15" fmla="*/ 272216 w 272216"/>
                <a:gd name="connsiteY15" fmla="*/ 164495 h 458547"/>
                <a:gd name="connsiteX16" fmla="*/ 272216 w 272216"/>
                <a:gd name="connsiteY16" fmla="*/ 170318 h 458547"/>
                <a:gd name="connsiteX17" fmla="*/ 270760 w 272216"/>
                <a:gd name="connsiteY17" fmla="*/ 174685 h 458547"/>
                <a:gd name="connsiteX18" fmla="*/ 269305 w 272216"/>
                <a:gd name="connsiteY18" fmla="*/ 179052 h 458547"/>
                <a:gd name="connsiteX19" fmla="*/ 266393 w 272216"/>
                <a:gd name="connsiteY19" fmla="*/ 181963 h 458547"/>
                <a:gd name="connsiteX20" fmla="*/ 262026 w 272216"/>
                <a:gd name="connsiteY20" fmla="*/ 184875 h 458547"/>
                <a:gd name="connsiteX21" fmla="*/ 257659 w 272216"/>
                <a:gd name="connsiteY21" fmla="*/ 187786 h 458547"/>
                <a:gd name="connsiteX22" fmla="*/ 253292 w 272216"/>
                <a:gd name="connsiteY22" fmla="*/ 187786 h 458547"/>
                <a:gd name="connsiteX23" fmla="*/ 248925 w 272216"/>
                <a:gd name="connsiteY23" fmla="*/ 189242 h 458547"/>
                <a:gd name="connsiteX24" fmla="*/ 246013 w 272216"/>
                <a:gd name="connsiteY24" fmla="*/ 189242 h 458547"/>
                <a:gd name="connsiteX25" fmla="*/ 158671 w 272216"/>
                <a:gd name="connsiteY25" fmla="*/ 171773 h 458547"/>
                <a:gd name="connsiteX26" fmla="*/ 154304 w 272216"/>
                <a:gd name="connsiteY26" fmla="*/ 168862 h 458547"/>
                <a:gd name="connsiteX27" fmla="*/ 149937 w 272216"/>
                <a:gd name="connsiteY27" fmla="*/ 165951 h 458547"/>
                <a:gd name="connsiteX28" fmla="*/ 144114 w 272216"/>
                <a:gd name="connsiteY28" fmla="*/ 158672 h 458547"/>
                <a:gd name="connsiteX29" fmla="*/ 123735 w 272216"/>
                <a:gd name="connsiteY29" fmla="*/ 116457 h 458547"/>
                <a:gd name="connsiteX30" fmla="*/ 109178 w 272216"/>
                <a:gd name="connsiteY30" fmla="*/ 187786 h 458547"/>
                <a:gd name="connsiteX31" fmla="*/ 177596 w 272216"/>
                <a:gd name="connsiteY31" fmla="*/ 262027 h 458547"/>
                <a:gd name="connsiteX32" fmla="*/ 180507 w 272216"/>
                <a:gd name="connsiteY32" fmla="*/ 263483 h 458547"/>
                <a:gd name="connsiteX33" fmla="*/ 183418 w 272216"/>
                <a:gd name="connsiteY33" fmla="*/ 269306 h 458547"/>
                <a:gd name="connsiteX34" fmla="*/ 186330 w 272216"/>
                <a:gd name="connsiteY34" fmla="*/ 278040 h 458547"/>
                <a:gd name="connsiteX35" fmla="*/ 187785 w 272216"/>
                <a:gd name="connsiteY35" fmla="*/ 292597 h 458547"/>
                <a:gd name="connsiteX36" fmla="*/ 187785 w 272216"/>
                <a:gd name="connsiteY36" fmla="*/ 362471 h 458547"/>
                <a:gd name="connsiteX37" fmla="*/ 187785 w 272216"/>
                <a:gd name="connsiteY37" fmla="*/ 429433 h 458547"/>
                <a:gd name="connsiteX38" fmla="*/ 187785 w 272216"/>
                <a:gd name="connsiteY38" fmla="*/ 430889 h 458547"/>
                <a:gd name="connsiteX39" fmla="*/ 187785 w 272216"/>
                <a:gd name="connsiteY39" fmla="*/ 433800 h 458547"/>
                <a:gd name="connsiteX40" fmla="*/ 186330 w 272216"/>
                <a:gd name="connsiteY40" fmla="*/ 438167 h 458547"/>
                <a:gd name="connsiteX41" fmla="*/ 184874 w 272216"/>
                <a:gd name="connsiteY41" fmla="*/ 443990 h 458547"/>
                <a:gd name="connsiteX42" fmla="*/ 181963 w 272216"/>
                <a:gd name="connsiteY42" fmla="*/ 448357 h 458547"/>
                <a:gd name="connsiteX43" fmla="*/ 177596 w 272216"/>
                <a:gd name="connsiteY43" fmla="*/ 451269 h 458547"/>
                <a:gd name="connsiteX44" fmla="*/ 174684 w 272216"/>
                <a:gd name="connsiteY44" fmla="*/ 454180 h 458547"/>
                <a:gd name="connsiteX45" fmla="*/ 170317 w 272216"/>
                <a:gd name="connsiteY45" fmla="*/ 457092 h 458547"/>
                <a:gd name="connsiteX46" fmla="*/ 164494 w 272216"/>
                <a:gd name="connsiteY46" fmla="*/ 458547 h 458547"/>
                <a:gd name="connsiteX47" fmla="*/ 158671 w 272216"/>
                <a:gd name="connsiteY47" fmla="*/ 458547 h 458547"/>
                <a:gd name="connsiteX48" fmla="*/ 154304 w 272216"/>
                <a:gd name="connsiteY48" fmla="*/ 458547 h 458547"/>
                <a:gd name="connsiteX49" fmla="*/ 148482 w 272216"/>
                <a:gd name="connsiteY49" fmla="*/ 457092 h 458547"/>
                <a:gd name="connsiteX50" fmla="*/ 144114 w 272216"/>
                <a:gd name="connsiteY50" fmla="*/ 454180 h 458547"/>
                <a:gd name="connsiteX51" fmla="*/ 141203 w 272216"/>
                <a:gd name="connsiteY51" fmla="*/ 451269 h 458547"/>
                <a:gd name="connsiteX52" fmla="*/ 136836 w 272216"/>
                <a:gd name="connsiteY52" fmla="*/ 448357 h 458547"/>
                <a:gd name="connsiteX53" fmla="*/ 133925 w 272216"/>
                <a:gd name="connsiteY53" fmla="*/ 443990 h 458547"/>
                <a:gd name="connsiteX54" fmla="*/ 132469 w 272216"/>
                <a:gd name="connsiteY54" fmla="*/ 438167 h 458547"/>
                <a:gd name="connsiteX55" fmla="*/ 131013 w 272216"/>
                <a:gd name="connsiteY55" fmla="*/ 433800 h 458547"/>
                <a:gd name="connsiteX56" fmla="*/ 131013 w 272216"/>
                <a:gd name="connsiteY56" fmla="*/ 307154 h 458547"/>
                <a:gd name="connsiteX57" fmla="*/ 59684 w 272216"/>
                <a:gd name="connsiteY57" fmla="*/ 235824 h 458547"/>
                <a:gd name="connsiteX58" fmla="*/ 46583 w 272216"/>
                <a:gd name="connsiteY58" fmla="*/ 315888 h 458547"/>
                <a:gd name="connsiteX59" fmla="*/ 43671 w 272216"/>
                <a:gd name="connsiteY59" fmla="*/ 324622 h 458547"/>
                <a:gd name="connsiteX60" fmla="*/ 0 w 272216"/>
                <a:gd name="connsiteY60" fmla="*/ 190698 h 458547"/>
                <a:gd name="connsiteX61" fmla="*/ 11646 w 272216"/>
                <a:gd name="connsiteY61" fmla="*/ 138292 h 458547"/>
                <a:gd name="connsiteX62" fmla="*/ 20750 w 272216"/>
                <a:gd name="connsiteY62" fmla="*/ 93909 h 458547"/>
                <a:gd name="connsiteX63" fmla="*/ 40586 w 272216"/>
                <a:gd name="connsiteY63" fmla="*/ 16944 h 458547"/>
                <a:gd name="connsiteX64" fmla="*/ 62595 w 272216"/>
                <a:gd name="connsiteY64" fmla="*/ 4367 h 458547"/>
                <a:gd name="connsiteX65" fmla="*/ 65507 w 272216"/>
                <a:gd name="connsiteY65" fmla="*/ 2912 h 458547"/>
                <a:gd name="connsiteX66" fmla="*/ 72785 w 272216"/>
                <a:gd name="connsiteY66" fmla="*/ 1456 h 458547"/>
                <a:gd name="connsiteX67" fmla="*/ 84431 w 272216"/>
                <a:gd name="connsiteY67" fmla="*/ 0 h 458547"/>
                <a:gd name="connsiteX0" fmla="*/ 84431 w 272216"/>
                <a:gd name="connsiteY0" fmla="*/ 0 h 458547"/>
                <a:gd name="connsiteX1" fmla="*/ 90254 w 272216"/>
                <a:gd name="connsiteY1" fmla="*/ 0 h 458547"/>
                <a:gd name="connsiteX2" fmla="*/ 96076 w 272216"/>
                <a:gd name="connsiteY2" fmla="*/ 1456 h 458547"/>
                <a:gd name="connsiteX3" fmla="*/ 109178 w 272216"/>
                <a:gd name="connsiteY3" fmla="*/ 7279 h 458547"/>
                <a:gd name="connsiteX4" fmla="*/ 117912 w 272216"/>
                <a:gd name="connsiteY4" fmla="*/ 13102 h 458547"/>
                <a:gd name="connsiteX5" fmla="*/ 126646 w 272216"/>
                <a:gd name="connsiteY5" fmla="*/ 20380 h 458547"/>
                <a:gd name="connsiteX6" fmla="*/ 131013 w 272216"/>
                <a:gd name="connsiteY6" fmla="*/ 24747 h 458547"/>
                <a:gd name="connsiteX7" fmla="*/ 139747 w 272216"/>
                <a:gd name="connsiteY7" fmla="*/ 42216 h 458547"/>
                <a:gd name="connsiteX8" fmla="*/ 157216 w 272216"/>
                <a:gd name="connsiteY8" fmla="*/ 77153 h 458547"/>
                <a:gd name="connsiteX9" fmla="*/ 181963 w 272216"/>
                <a:gd name="connsiteY9" fmla="*/ 128102 h 458547"/>
                <a:gd name="connsiteX10" fmla="*/ 183418 w 272216"/>
                <a:gd name="connsiteY10" fmla="*/ 129558 h 458547"/>
                <a:gd name="connsiteX11" fmla="*/ 251836 w 272216"/>
                <a:gd name="connsiteY11" fmla="*/ 141204 h 458547"/>
                <a:gd name="connsiteX12" fmla="*/ 259115 w 272216"/>
                <a:gd name="connsiteY12" fmla="*/ 144115 h 458547"/>
                <a:gd name="connsiteX13" fmla="*/ 266393 w 272216"/>
                <a:gd name="connsiteY13" fmla="*/ 148482 h 458547"/>
                <a:gd name="connsiteX14" fmla="*/ 270760 w 272216"/>
                <a:gd name="connsiteY14" fmla="*/ 155761 h 458547"/>
                <a:gd name="connsiteX15" fmla="*/ 272216 w 272216"/>
                <a:gd name="connsiteY15" fmla="*/ 164495 h 458547"/>
                <a:gd name="connsiteX16" fmla="*/ 272216 w 272216"/>
                <a:gd name="connsiteY16" fmla="*/ 170318 h 458547"/>
                <a:gd name="connsiteX17" fmla="*/ 270760 w 272216"/>
                <a:gd name="connsiteY17" fmla="*/ 174685 h 458547"/>
                <a:gd name="connsiteX18" fmla="*/ 269305 w 272216"/>
                <a:gd name="connsiteY18" fmla="*/ 179052 h 458547"/>
                <a:gd name="connsiteX19" fmla="*/ 266393 w 272216"/>
                <a:gd name="connsiteY19" fmla="*/ 181963 h 458547"/>
                <a:gd name="connsiteX20" fmla="*/ 262026 w 272216"/>
                <a:gd name="connsiteY20" fmla="*/ 184875 h 458547"/>
                <a:gd name="connsiteX21" fmla="*/ 257659 w 272216"/>
                <a:gd name="connsiteY21" fmla="*/ 187786 h 458547"/>
                <a:gd name="connsiteX22" fmla="*/ 253292 w 272216"/>
                <a:gd name="connsiteY22" fmla="*/ 187786 h 458547"/>
                <a:gd name="connsiteX23" fmla="*/ 248925 w 272216"/>
                <a:gd name="connsiteY23" fmla="*/ 189242 h 458547"/>
                <a:gd name="connsiteX24" fmla="*/ 246013 w 272216"/>
                <a:gd name="connsiteY24" fmla="*/ 189242 h 458547"/>
                <a:gd name="connsiteX25" fmla="*/ 158671 w 272216"/>
                <a:gd name="connsiteY25" fmla="*/ 171773 h 458547"/>
                <a:gd name="connsiteX26" fmla="*/ 154304 w 272216"/>
                <a:gd name="connsiteY26" fmla="*/ 168862 h 458547"/>
                <a:gd name="connsiteX27" fmla="*/ 149937 w 272216"/>
                <a:gd name="connsiteY27" fmla="*/ 165951 h 458547"/>
                <a:gd name="connsiteX28" fmla="*/ 144114 w 272216"/>
                <a:gd name="connsiteY28" fmla="*/ 158672 h 458547"/>
                <a:gd name="connsiteX29" fmla="*/ 123735 w 272216"/>
                <a:gd name="connsiteY29" fmla="*/ 116457 h 458547"/>
                <a:gd name="connsiteX30" fmla="*/ 109178 w 272216"/>
                <a:gd name="connsiteY30" fmla="*/ 187786 h 458547"/>
                <a:gd name="connsiteX31" fmla="*/ 177596 w 272216"/>
                <a:gd name="connsiteY31" fmla="*/ 262027 h 458547"/>
                <a:gd name="connsiteX32" fmla="*/ 180507 w 272216"/>
                <a:gd name="connsiteY32" fmla="*/ 263483 h 458547"/>
                <a:gd name="connsiteX33" fmla="*/ 183418 w 272216"/>
                <a:gd name="connsiteY33" fmla="*/ 269306 h 458547"/>
                <a:gd name="connsiteX34" fmla="*/ 186330 w 272216"/>
                <a:gd name="connsiteY34" fmla="*/ 278040 h 458547"/>
                <a:gd name="connsiteX35" fmla="*/ 187785 w 272216"/>
                <a:gd name="connsiteY35" fmla="*/ 292597 h 458547"/>
                <a:gd name="connsiteX36" fmla="*/ 187785 w 272216"/>
                <a:gd name="connsiteY36" fmla="*/ 362471 h 458547"/>
                <a:gd name="connsiteX37" fmla="*/ 187785 w 272216"/>
                <a:gd name="connsiteY37" fmla="*/ 429433 h 458547"/>
                <a:gd name="connsiteX38" fmla="*/ 187785 w 272216"/>
                <a:gd name="connsiteY38" fmla="*/ 430889 h 458547"/>
                <a:gd name="connsiteX39" fmla="*/ 187785 w 272216"/>
                <a:gd name="connsiteY39" fmla="*/ 433800 h 458547"/>
                <a:gd name="connsiteX40" fmla="*/ 186330 w 272216"/>
                <a:gd name="connsiteY40" fmla="*/ 438167 h 458547"/>
                <a:gd name="connsiteX41" fmla="*/ 184874 w 272216"/>
                <a:gd name="connsiteY41" fmla="*/ 443990 h 458547"/>
                <a:gd name="connsiteX42" fmla="*/ 181963 w 272216"/>
                <a:gd name="connsiteY42" fmla="*/ 448357 h 458547"/>
                <a:gd name="connsiteX43" fmla="*/ 177596 w 272216"/>
                <a:gd name="connsiteY43" fmla="*/ 451269 h 458547"/>
                <a:gd name="connsiteX44" fmla="*/ 174684 w 272216"/>
                <a:gd name="connsiteY44" fmla="*/ 454180 h 458547"/>
                <a:gd name="connsiteX45" fmla="*/ 170317 w 272216"/>
                <a:gd name="connsiteY45" fmla="*/ 457092 h 458547"/>
                <a:gd name="connsiteX46" fmla="*/ 164494 w 272216"/>
                <a:gd name="connsiteY46" fmla="*/ 458547 h 458547"/>
                <a:gd name="connsiteX47" fmla="*/ 158671 w 272216"/>
                <a:gd name="connsiteY47" fmla="*/ 458547 h 458547"/>
                <a:gd name="connsiteX48" fmla="*/ 154304 w 272216"/>
                <a:gd name="connsiteY48" fmla="*/ 458547 h 458547"/>
                <a:gd name="connsiteX49" fmla="*/ 148482 w 272216"/>
                <a:gd name="connsiteY49" fmla="*/ 457092 h 458547"/>
                <a:gd name="connsiteX50" fmla="*/ 144114 w 272216"/>
                <a:gd name="connsiteY50" fmla="*/ 454180 h 458547"/>
                <a:gd name="connsiteX51" fmla="*/ 141203 w 272216"/>
                <a:gd name="connsiteY51" fmla="*/ 451269 h 458547"/>
                <a:gd name="connsiteX52" fmla="*/ 136836 w 272216"/>
                <a:gd name="connsiteY52" fmla="*/ 448357 h 458547"/>
                <a:gd name="connsiteX53" fmla="*/ 133925 w 272216"/>
                <a:gd name="connsiteY53" fmla="*/ 443990 h 458547"/>
                <a:gd name="connsiteX54" fmla="*/ 132469 w 272216"/>
                <a:gd name="connsiteY54" fmla="*/ 438167 h 458547"/>
                <a:gd name="connsiteX55" fmla="*/ 131013 w 272216"/>
                <a:gd name="connsiteY55" fmla="*/ 433800 h 458547"/>
                <a:gd name="connsiteX56" fmla="*/ 131013 w 272216"/>
                <a:gd name="connsiteY56" fmla="*/ 307154 h 458547"/>
                <a:gd name="connsiteX57" fmla="*/ 59684 w 272216"/>
                <a:gd name="connsiteY57" fmla="*/ 235824 h 458547"/>
                <a:gd name="connsiteX58" fmla="*/ 46583 w 272216"/>
                <a:gd name="connsiteY58" fmla="*/ 315888 h 458547"/>
                <a:gd name="connsiteX59" fmla="*/ 0 w 272216"/>
                <a:gd name="connsiteY59" fmla="*/ 190698 h 458547"/>
                <a:gd name="connsiteX60" fmla="*/ 11646 w 272216"/>
                <a:gd name="connsiteY60" fmla="*/ 138292 h 458547"/>
                <a:gd name="connsiteX61" fmla="*/ 20750 w 272216"/>
                <a:gd name="connsiteY61" fmla="*/ 93909 h 458547"/>
                <a:gd name="connsiteX62" fmla="*/ 40586 w 272216"/>
                <a:gd name="connsiteY62" fmla="*/ 16944 h 458547"/>
                <a:gd name="connsiteX63" fmla="*/ 62595 w 272216"/>
                <a:gd name="connsiteY63" fmla="*/ 4367 h 458547"/>
                <a:gd name="connsiteX64" fmla="*/ 65507 w 272216"/>
                <a:gd name="connsiteY64" fmla="*/ 2912 h 458547"/>
                <a:gd name="connsiteX65" fmla="*/ 72785 w 272216"/>
                <a:gd name="connsiteY65" fmla="*/ 1456 h 458547"/>
                <a:gd name="connsiteX66" fmla="*/ 84431 w 272216"/>
                <a:gd name="connsiteY66" fmla="*/ 0 h 458547"/>
                <a:gd name="connsiteX0" fmla="*/ 84431 w 272216"/>
                <a:gd name="connsiteY0" fmla="*/ 0 h 458547"/>
                <a:gd name="connsiteX1" fmla="*/ 90254 w 272216"/>
                <a:gd name="connsiteY1" fmla="*/ 0 h 458547"/>
                <a:gd name="connsiteX2" fmla="*/ 96076 w 272216"/>
                <a:gd name="connsiteY2" fmla="*/ 1456 h 458547"/>
                <a:gd name="connsiteX3" fmla="*/ 109178 w 272216"/>
                <a:gd name="connsiteY3" fmla="*/ 7279 h 458547"/>
                <a:gd name="connsiteX4" fmla="*/ 117912 w 272216"/>
                <a:gd name="connsiteY4" fmla="*/ 13102 h 458547"/>
                <a:gd name="connsiteX5" fmla="*/ 126646 w 272216"/>
                <a:gd name="connsiteY5" fmla="*/ 20380 h 458547"/>
                <a:gd name="connsiteX6" fmla="*/ 131013 w 272216"/>
                <a:gd name="connsiteY6" fmla="*/ 24747 h 458547"/>
                <a:gd name="connsiteX7" fmla="*/ 139747 w 272216"/>
                <a:gd name="connsiteY7" fmla="*/ 42216 h 458547"/>
                <a:gd name="connsiteX8" fmla="*/ 157216 w 272216"/>
                <a:gd name="connsiteY8" fmla="*/ 77153 h 458547"/>
                <a:gd name="connsiteX9" fmla="*/ 181963 w 272216"/>
                <a:gd name="connsiteY9" fmla="*/ 128102 h 458547"/>
                <a:gd name="connsiteX10" fmla="*/ 183418 w 272216"/>
                <a:gd name="connsiteY10" fmla="*/ 129558 h 458547"/>
                <a:gd name="connsiteX11" fmla="*/ 251836 w 272216"/>
                <a:gd name="connsiteY11" fmla="*/ 141204 h 458547"/>
                <a:gd name="connsiteX12" fmla="*/ 259115 w 272216"/>
                <a:gd name="connsiteY12" fmla="*/ 144115 h 458547"/>
                <a:gd name="connsiteX13" fmla="*/ 266393 w 272216"/>
                <a:gd name="connsiteY13" fmla="*/ 148482 h 458547"/>
                <a:gd name="connsiteX14" fmla="*/ 270760 w 272216"/>
                <a:gd name="connsiteY14" fmla="*/ 155761 h 458547"/>
                <a:gd name="connsiteX15" fmla="*/ 272216 w 272216"/>
                <a:gd name="connsiteY15" fmla="*/ 164495 h 458547"/>
                <a:gd name="connsiteX16" fmla="*/ 272216 w 272216"/>
                <a:gd name="connsiteY16" fmla="*/ 170318 h 458547"/>
                <a:gd name="connsiteX17" fmla="*/ 270760 w 272216"/>
                <a:gd name="connsiteY17" fmla="*/ 174685 h 458547"/>
                <a:gd name="connsiteX18" fmla="*/ 269305 w 272216"/>
                <a:gd name="connsiteY18" fmla="*/ 179052 h 458547"/>
                <a:gd name="connsiteX19" fmla="*/ 266393 w 272216"/>
                <a:gd name="connsiteY19" fmla="*/ 181963 h 458547"/>
                <a:gd name="connsiteX20" fmla="*/ 262026 w 272216"/>
                <a:gd name="connsiteY20" fmla="*/ 184875 h 458547"/>
                <a:gd name="connsiteX21" fmla="*/ 257659 w 272216"/>
                <a:gd name="connsiteY21" fmla="*/ 187786 h 458547"/>
                <a:gd name="connsiteX22" fmla="*/ 253292 w 272216"/>
                <a:gd name="connsiteY22" fmla="*/ 187786 h 458547"/>
                <a:gd name="connsiteX23" fmla="*/ 248925 w 272216"/>
                <a:gd name="connsiteY23" fmla="*/ 189242 h 458547"/>
                <a:gd name="connsiteX24" fmla="*/ 246013 w 272216"/>
                <a:gd name="connsiteY24" fmla="*/ 189242 h 458547"/>
                <a:gd name="connsiteX25" fmla="*/ 158671 w 272216"/>
                <a:gd name="connsiteY25" fmla="*/ 171773 h 458547"/>
                <a:gd name="connsiteX26" fmla="*/ 154304 w 272216"/>
                <a:gd name="connsiteY26" fmla="*/ 168862 h 458547"/>
                <a:gd name="connsiteX27" fmla="*/ 149937 w 272216"/>
                <a:gd name="connsiteY27" fmla="*/ 165951 h 458547"/>
                <a:gd name="connsiteX28" fmla="*/ 144114 w 272216"/>
                <a:gd name="connsiteY28" fmla="*/ 158672 h 458547"/>
                <a:gd name="connsiteX29" fmla="*/ 123735 w 272216"/>
                <a:gd name="connsiteY29" fmla="*/ 116457 h 458547"/>
                <a:gd name="connsiteX30" fmla="*/ 109178 w 272216"/>
                <a:gd name="connsiteY30" fmla="*/ 187786 h 458547"/>
                <a:gd name="connsiteX31" fmla="*/ 177596 w 272216"/>
                <a:gd name="connsiteY31" fmla="*/ 262027 h 458547"/>
                <a:gd name="connsiteX32" fmla="*/ 180507 w 272216"/>
                <a:gd name="connsiteY32" fmla="*/ 263483 h 458547"/>
                <a:gd name="connsiteX33" fmla="*/ 183418 w 272216"/>
                <a:gd name="connsiteY33" fmla="*/ 269306 h 458547"/>
                <a:gd name="connsiteX34" fmla="*/ 186330 w 272216"/>
                <a:gd name="connsiteY34" fmla="*/ 278040 h 458547"/>
                <a:gd name="connsiteX35" fmla="*/ 187785 w 272216"/>
                <a:gd name="connsiteY35" fmla="*/ 292597 h 458547"/>
                <a:gd name="connsiteX36" fmla="*/ 187785 w 272216"/>
                <a:gd name="connsiteY36" fmla="*/ 362471 h 458547"/>
                <a:gd name="connsiteX37" fmla="*/ 187785 w 272216"/>
                <a:gd name="connsiteY37" fmla="*/ 429433 h 458547"/>
                <a:gd name="connsiteX38" fmla="*/ 187785 w 272216"/>
                <a:gd name="connsiteY38" fmla="*/ 430889 h 458547"/>
                <a:gd name="connsiteX39" fmla="*/ 187785 w 272216"/>
                <a:gd name="connsiteY39" fmla="*/ 433800 h 458547"/>
                <a:gd name="connsiteX40" fmla="*/ 186330 w 272216"/>
                <a:gd name="connsiteY40" fmla="*/ 438167 h 458547"/>
                <a:gd name="connsiteX41" fmla="*/ 184874 w 272216"/>
                <a:gd name="connsiteY41" fmla="*/ 443990 h 458547"/>
                <a:gd name="connsiteX42" fmla="*/ 181963 w 272216"/>
                <a:gd name="connsiteY42" fmla="*/ 448357 h 458547"/>
                <a:gd name="connsiteX43" fmla="*/ 177596 w 272216"/>
                <a:gd name="connsiteY43" fmla="*/ 451269 h 458547"/>
                <a:gd name="connsiteX44" fmla="*/ 174684 w 272216"/>
                <a:gd name="connsiteY44" fmla="*/ 454180 h 458547"/>
                <a:gd name="connsiteX45" fmla="*/ 170317 w 272216"/>
                <a:gd name="connsiteY45" fmla="*/ 457092 h 458547"/>
                <a:gd name="connsiteX46" fmla="*/ 164494 w 272216"/>
                <a:gd name="connsiteY46" fmla="*/ 458547 h 458547"/>
                <a:gd name="connsiteX47" fmla="*/ 158671 w 272216"/>
                <a:gd name="connsiteY47" fmla="*/ 458547 h 458547"/>
                <a:gd name="connsiteX48" fmla="*/ 154304 w 272216"/>
                <a:gd name="connsiteY48" fmla="*/ 458547 h 458547"/>
                <a:gd name="connsiteX49" fmla="*/ 148482 w 272216"/>
                <a:gd name="connsiteY49" fmla="*/ 457092 h 458547"/>
                <a:gd name="connsiteX50" fmla="*/ 144114 w 272216"/>
                <a:gd name="connsiteY50" fmla="*/ 454180 h 458547"/>
                <a:gd name="connsiteX51" fmla="*/ 141203 w 272216"/>
                <a:gd name="connsiteY51" fmla="*/ 451269 h 458547"/>
                <a:gd name="connsiteX52" fmla="*/ 136836 w 272216"/>
                <a:gd name="connsiteY52" fmla="*/ 448357 h 458547"/>
                <a:gd name="connsiteX53" fmla="*/ 133925 w 272216"/>
                <a:gd name="connsiteY53" fmla="*/ 443990 h 458547"/>
                <a:gd name="connsiteX54" fmla="*/ 132469 w 272216"/>
                <a:gd name="connsiteY54" fmla="*/ 438167 h 458547"/>
                <a:gd name="connsiteX55" fmla="*/ 131013 w 272216"/>
                <a:gd name="connsiteY55" fmla="*/ 433800 h 458547"/>
                <a:gd name="connsiteX56" fmla="*/ 131013 w 272216"/>
                <a:gd name="connsiteY56" fmla="*/ 307154 h 458547"/>
                <a:gd name="connsiteX57" fmla="*/ 59684 w 272216"/>
                <a:gd name="connsiteY57" fmla="*/ 235824 h 458547"/>
                <a:gd name="connsiteX58" fmla="*/ 0 w 272216"/>
                <a:gd name="connsiteY58" fmla="*/ 190698 h 458547"/>
                <a:gd name="connsiteX59" fmla="*/ 11646 w 272216"/>
                <a:gd name="connsiteY59" fmla="*/ 138292 h 458547"/>
                <a:gd name="connsiteX60" fmla="*/ 20750 w 272216"/>
                <a:gd name="connsiteY60" fmla="*/ 93909 h 458547"/>
                <a:gd name="connsiteX61" fmla="*/ 40586 w 272216"/>
                <a:gd name="connsiteY61" fmla="*/ 16944 h 458547"/>
                <a:gd name="connsiteX62" fmla="*/ 62595 w 272216"/>
                <a:gd name="connsiteY62" fmla="*/ 4367 h 458547"/>
                <a:gd name="connsiteX63" fmla="*/ 65507 w 272216"/>
                <a:gd name="connsiteY63" fmla="*/ 2912 h 458547"/>
                <a:gd name="connsiteX64" fmla="*/ 72785 w 272216"/>
                <a:gd name="connsiteY64" fmla="*/ 1456 h 458547"/>
                <a:gd name="connsiteX65" fmla="*/ 84431 w 272216"/>
                <a:gd name="connsiteY65" fmla="*/ 0 h 458547"/>
                <a:gd name="connsiteX0" fmla="*/ 72785 w 260570"/>
                <a:gd name="connsiteY0" fmla="*/ 0 h 458547"/>
                <a:gd name="connsiteX1" fmla="*/ 78608 w 260570"/>
                <a:gd name="connsiteY1" fmla="*/ 0 h 458547"/>
                <a:gd name="connsiteX2" fmla="*/ 84430 w 260570"/>
                <a:gd name="connsiteY2" fmla="*/ 1456 h 458547"/>
                <a:gd name="connsiteX3" fmla="*/ 97532 w 260570"/>
                <a:gd name="connsiteY3" fmla="*/ 7279 h 458547"/>
                <a:gd name="connsiteX4" fmla="*/ 106266 w 260570"/>
                <a:gd name="connsiteY4" fmla="*/ 13102 h 458547"/>
                <a:gd name="connsiteX5" fmla="*/ 115000 w 260570"/>
                <a:gd name="connsiteY5" fmla="*/ 20380 h 458547"/>
                <a:gd name="connsiteX6" fmla="*/ 119367 w 260570"/>
                <a:gd name="connsiteY6" fmla="*/ 24747 h 458547"/>
                <a:gd name="connsiteX7" fmla="*/ 128101 w 260570"/>
                <a:gd name="connsiteY7" fmla="*/ 42216 h 458547"/>
                <a:gd name="connsiteX8" fmla="*/ 145570 w 260570"/>
                <a:gd name="connsiteY8" fmla="*/ 77153 h 458547"/>
                <a:gd name="connsiteX9" fmla="*/ 170317 w 260570"/>
                <a:gd name="connsiteY9" fmla="*/ 128102 h 458547"/>
                <a:gd name="connsiteX10" fmla="*/ 171772 w 260570"/>
                <a:gd name="connsiteY10" fmla="*/ 129558 h 458547"/>
                <a:gd name="connsiteX11" fmla="*/ 240190 w 260570"/>
                <a:gd name="connsiteY11" fmla="*/ 141204 h 458547"/>
                <a:gd name="connsiteX12" fmla="*/ 247469 w 260570"/>
                <a:gd name="connsiteY12" fmla="*/ 144115 h 458547"/>
                <a:gd name="connsiteX13" fmla="*/ 254747 w 260570"/>
                <a:gd name="connsiteY13" fmla="*/ 148482 h 458547"/>
                <a:gd name="connsiteX14" fmla="*/ 259114 w 260570"/>
                <a:gd name="connsiteY14" fmla="*/ 155761 h 458547"/>
                <a:gd name="connsiteX15" fmla="*/ 260570 w 260570"/>
                <a:gd name="connsiteY15" fmla="*/ 164495 h 458547"/>
                <a:gd name="connsiteX16" fmla="*/ 260570 w 260570"/>
                <a:gd name="connsiteY16" fmla="*/ 170318 h 458547"/>
                <a:gd name="connsiteX17" fmla="*/ 259114 w 260570"/>
                <a:gd name="connsiteY17" fmla="*/ 174685 h 458547"/>
                <a:gd name="connsiteX18" fmla="*/ 257659 w 260570"/>
                <a:gd name="connsiteY18" fmla="*/ 179052 h 458547"/>
                <a:gd name="connsiteX19" fmla="*/ 254747 w 260570"/>
                <a:gd name="connsiteY19" fmla="*/ 181963 h 458547"/>
                <a:gd name="connsiteX20" fmla="*/ 250380 w 260570"/>
                <a:gd name="connsiteY20" fmla="*/ 184875 h 458547"/>
                <a:gd name="connsiteX21" fmla="*/ 246013 w 260570"/>
                <a:gd name="connsiteY21" fmla="*/ 187786 h 458547"/>
                <a:gd name="connsiteX22" fmla="*/ 241646 w 260570"/>
                <a:gd name="connsiteY22" fmla="*/ 187786 h 458547"/>
                <a:gd name="connsiteX23" fmla="*/ 237279 w 260570"/>
                <a:gd name="connsiteY23" fmla="*/ 189242 h 458547"/>
                <a:gd name="connsiteX24" fmla="*/ 234367 w 260570"/>
                <a:gd name="connsiteY24" fmla="*/ 189242 h 458547"/>
                <a:gd name="connsiteX25" fmla="*/ 147025 w 260570"/>
                <a:gd name="connsiteY25" fmla="*/ 171773 h 458547"/>
                <a:gd name="connsiteX26" fmla="*/ 142658 w 260570"/>
                <a:gd name="connsiteY26" fmla="*/ 168862 h 458547"/>
                <a:gd name="connsiteX27" fmla="*/ 138291 w 260570"/>
                <a:gd name="connsiteY27" fmla="*/ 165951 h 458547"/>
                <a:gd name="connsiteX28" fmla="*/ 132468 w 260570"/>
                <a:gd name="connsiteY28" fmla="*/ 158672 h 458547"/>
                <a:gd name="connsiteX29" fmla="*/ 112089 w 260570"/>
                <a:gd name="connsiteY29" fmla="*/ 116457 h 458547"/>
                <a:gd name="connsiteX30" fmla="*/ 97532 w 260570"/>
                <a:gd name="connsiteY30" fmla="*/ 187786 h 458547"/>
                <a:gd name="connsiteX31" fmla="*/ 165950 w 260570"/>
                <a:gd name="connsiteY31" fmla="*/ 262027 h 458547"/>
                <a:gd name="connsiteX32" fmla="*/ 168861 w 260570"/>
                <a:gd name="connsiteY32" fmla="*/ 263483 h 458547"/>
                <a:gd name="connsiteX33" fmla="*/ 171772 w 260570"/>
                <a:gd name="connsiteY33" fmla="*/ 269306 h 458547"/>
                <a:gd name="connsiteX34" fmla="*/ 174684 w 260570"/>
                <a:gd name="connsiteY34" fmla="*/ 278040 h 458547"/>
                <a:gd name="connsiteX35" fmla="*/ 176139 w 260570"/>
                <a:gd name="connsiteY35" fmla="*/ 292597 h 458547"/>
                <a:gd name="connsiteX36" fmla="*/ 176139 w 260570"/>
                <a:gd name="connsiteY36" fmla="*/ 362471 h 458547"/>
                <a:gd name="connsiteX37" fmla="*/ 176139 w 260570"/>
                <a:gd name="connsiteY37" fmla="*/ 429433 h 458547"/>
                <a:gd name="connsiteX38" fmla="*/ 176139 w 260570"/>
                <a:gd name="connsiteY38" fmla="*/ 430889 h 458547"/>
                <a:gd name="connsiteX39" fmla="*/ 176139 w 260570"/>
                <a:gd name="connsiteY39" fmla="*/ 433800 h 458547"/>
                <a:gd name="connsiteX40" fmla="*/ 174684 w 260570"/>
                <a:gd name="connsiteY40" fmla="*/ 438167 h 458547"/>
                <a:gd name="connsiteX41" fmla="*/ 173228 w 260570"/>
                <a:gd name="connsiteY41" fmla="*/ 443990 h 458547"/>
                <a:gd name="connsiteX42" fmla="*/ 170317 w 260570"/>
                <a:gd name="connsiteY42" fmla="*/ 448357 h 458547"/>
                <a:gd name="connsiteX43" fmla="*/ 165950 w 260570"/>
                <a:gd name="connsiteY43" fmla="*/ 451269 h 458547"/>
                <a:gd name="connsiteX44" fmla="*/ 163038 w 260570"/>
                <a:gd name="connsiteY44" fmla="*/ 454180 h 458547"/>
                <a:gd name="connsiteX45" fmla="*/ 158671 w 260570"/>
                <a:gd name="connsiteY45" fmla="*/ 457092 h 458547"/>
                <a:gd name="connsiteX46" fmla="*/ 152848 w 260570"/>
                <a:gd name="connsiteY46" fmla="*/ 458547 h 458547"/>
                <a:gd name="connsiteX47" fmla="*/ 147025 w 260570"/>
                <a:gd name="connsiteY47" fmla="*/ 458547 h 458547"/>
                <a:gd name="connsiteX48" fmla="*/ 142658 w 260570"/>
                <a:gd name="connsiteY48" fmla="*/ 458547 h 458547"/>
                <a:gd name="connsiteX49" fmla="*/ 136836 w 260570"/>
                <a:gd name="connsiteY49" fmla="*/ 457092 h 458547"/>
                <a:gd name="connsiteX50" fmla="*/ 132468 w 260570"/>
                <a:gd name="connsiteY50" fmla="*/ 454180 h 458547"/>
                <a:gd name="connsiteX51" fmla="*/ 129557 w 260570"/>
                <a:gd name="connsiteY51" fmla="*/ 451269 h 458547"/>
                <a:gd name="connsiteX52" fmla="*/ 125190 w 260570"/>
                <a:gd name="connsiteY52" fmla="*/ 448357 h 458547"/>
                <a:gd name="connsiteX53" fmla="*/ 122279 w 260570"/>
                <a:gd name="connsiteY53" fmla="*/ 443990 h 458547"/>
                <a:gd name="connsiteX54" fmla="*/ 120823 w 260570"/>
                <a:gd name="connsiteY54" fmla="*/ 438167 h 458547"/>
                <a:gd name="connsiteX55" fmla="*/ 119367 w 260570"/>
                <a:gd name="connsiteY55" fmla="*/ 433800 h 458547"/>
                <a:gd name="connsiteX56" fmla="*/ 119367 w 260570"/>
                <a:gd name="connsiteY56" fmla="*/ 307154 h 458547"/>
                <a:gd name="connsiteX57" fmla="*/ 48038 w 260570"/>
                <a:gd name="connsiteY57" fmla="*/ 235824 h 458547"/>
                <a:gd name="connsiteX58" fmla="*/ 116 w 260570"/>
                <a:gd name="connsiteY58" fmla="*/ 200322 h 458547"/>
                <a:gd name="connsiteX59" fmla="*/ 0 w 260570"/>
                <a:gd name="connsiteY59" fmla="*/ 138292 h 458547"/>
                <a:gd name="connsiteX60" fmla="*/ 9104 w 260570"/>
                <a:gd name="connsiteY60" fmla="*/ 93909 h 458547"/>
                <a:gd name="connsiteX61" fmla="*/ 28940 w 260570"/>
                <a:gd name="connsiteY61" fmla="*/ 16944 h 458547"/>
                <a:gd name="connsiteX62" fmla="*/ 50949 w 260570"/>
                <a:gd name="connsiteY62" fmla="*/ 4367 h 458547"/>
                <a:gd name="connsiteX63" fmla="*/ 53861 w 260570"/>
                <a:gd name="connsiteY63" fmla="*/ 2912 h 458547"/>
                <a:gd name="connsiteX64" fmla="*/ 61139 w 260570"/>
                <a:gd name="connsiteY64" fmla="*/ 1456 h 458547"/>
                <a:gd name="connsiteX65" fmla="*/ 72785 w 260570"/>
                <a:gd name="connsiteY65" fmla="*/ 0 h 458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260570" h="458547">
                  <a:moveTo>
                    <a:pt x="72785" y="0"/>
                  </a:moveTo>
                  <a:lnTo>
                    <a:pt x="78608" y="0"/>
                  </a:lnTo>
                  <a:lnTo>
                    <a:pt x="84430" y="1456"/>
                  </a:lnTo>
                  <a:lnTo>
                    <a:pt x="97532" y="7279"/>
                  </a:lnTo>
                  <a:lnTo>
                    <a:pt x="106266" y="13102"/>
                  </a:lnTo>
                  <a:lnTo>
                    <a:pt x="115000" y="20380"/>
                  </a:lnTo>
                  <a:lnTo>
                    <a:pt x="119367" y="24747"/>
                  </a:lnTo>
                  <a:lnTo>
                    <a:pt x="128101" y="42216"/>
                  </a:lnTo>
                  <a:lnTo>
                    <a:pt x="145570" y="77153"/>
                  </a:lnTo>
                  <a:lnTo>
                    <a:pt x="170317" y="128102"/>
                  </a:lnTo>
                  <a:lnTo>
                    <a:pt x="171772" y="129558"/>
                  </a:lnTo>
                  <a:lnTo>
                    <a:pt x="240190" y="141204"/>
                  </a:lnTo>
                  <a:lnTo>
                    <a:pt x="247469" y="144115"/>
                  </a:lnTo>
                  <a:lnTo>
                    <a:pt x="254747" y="148482"/>
                  </a:lnTo>
                  <a:lnTo>
                    <a:pt x="259114" y="155761"/>
                  </a:lnTo>
                  <a:lnTo>
                    <a:pt x="260570" y="164495"/>
                  </a:lnTo>
                  <a:lnTo>
                    <a:pt x="260570" y="170318"/>
                  </a:lnTo>
                  <a:lnTo>
                    <a:pt x="259114" y="174685"/>
                  </a:lnTo>
                  <a:lnTo>
                    <a:pt x="257659" y="179052"/>
                  </a:lnTo>
                  <a:lnTo>
                    <a:pt x="254747" y="181963"/>
                  </a:lnTo>
                  <a:lnTo>
                    <a:pt x="250380" y="184875"/>
                  </a:lnTo>
                  <a:lnTo>
                    <a:pt x="246013" y="187786"/>
                  </a:lnTo>
                  <a:lnTo>
                    <a:pt x="241646" y="187786"/>
                  </a:lnTo>
                  <a:lnTo>
                    <a:pt x="237279" y="189242"/>
                  </a:lnTo>
                  <a:lnTo>
                    <a:pt x="234367" y="189242"/>
                  </a:lnTo>
                  <a:lnTo>
                    <a:pt x="147025" y="171773"/>
                  </a:lnTo>
                  <a:lnTo>
                    <a:pt x="142658" y="168862"/>
                  </a:lnTo>
                  <a:lnTo>
                    <a:pt x="138291" y="165951"/>
                  </a:lnTo>
                  <a:lnTo>
                    <a:pt x="132468" y="158672"/>
                  </a:lnTo>
                  <a:lnTo>
                    <a:pt x="112089" y="116457"/>
                  </a:lnTo>
                  <a:lnTo>
                    <a:pt x="97532" y="187786"/>
                  </a:lnTo>
                  <a:lnTo>
                    <a:pt x="165950" y="262027"/>
                  </a:lnTo>
                  <a:lnTo>
                    <a:pt x="168861" y="263483"/>
                  </a:lnTo>
                  <a:lnTo>
                    <a:pt x="171772" y="269306"/>
                  </a:lnTo>
                  <a:lnTo>
                    <a:pt x="174684" y="278040"/>
                  </a:lnTo>
                  <a:lnTo>
                    <a:pt x="176139" y="292597"/>
                  </a:lnTo>
                  <a:lnTo>
                    <a:pt x="176139" y="362471"/>
                  </a:lnTo>
                  <a:lnTo>
                    <a:pt x="176139" y="429433"/>
                  </a:lnTo>
                  <a:lnTo>
                    <a:pt x="176139" y="430889"/>
                  </a:lnTo>
                  <a:lnTo>
                    <a:pt x="176139" y="433800"/>
                  </a:lnTo>
                  <a:lnTo>
                    <a:pt x="174684" y="438167"/>
                  </a:lnTo>
                  <a:lnTo>
                    <a:pt x="173228" y="443990"/>
                  </a:lnTo>
                  <a:lnTo>
                    <a:pt x="170317" y="448357"/>
                  </a:lnTo>
                  <a:lnTo>
                    <a:pt x="165950" y="451269"/>
                  </a:lnTo>
                  <a:lnTo>
                    <a:pt x="163038" y="454180"/>
                  </a:lnTo>
                  <a:lnTo>
                    <a:pt x="158671" y="457092"/>
                  </a:lnTo>
                  <a:lnTo>
                    <a:pt x="152848" y="458547"/>
                  </a:lnTo>
                  <a:lnTo>
                    <a:pt x="147025" y="458547"/>
                  </a:lnTo>
                  <a:lnTo>
                    <a:pt x="142658" y="458547"/>
                  </a:lnTo>
                  <a:lnTo>
                    <a:pt x="136836" y="457092"/>
                  </a:lnTo>
                  <a:lnTo>
                    <a:pt x="132468" y="454180"/>
                  </a:lnTo>
                  <a:lnTo>
                    <a:pt x="129557" y="451269"/>
                  </a:lnTo>
                  <a:lnTo>
                    <a:pt x="125190" y="448357"/>
                  </a:lnTo>
                  <a:lnTo>
                    <a:pt x="122279" y="443990"/>
                  </a:lnTo>
                  <a:lnTo>
                    <a:pt x="120823" y="438167"/>
                  </a:lnTo>
                  <a:lnTo>
                    <a:pt x="119367" y="433800"/>
                  </a:lnTo>
                  <a:lnTo>
                    <a:pt x="119367" y="307154"/>
                  </a:lnTo>
                  <a:lnTo>
                    <a:pt x="48038" y="235824"/>
                  </a:lnTo>
                  <a:lnTo>
                    <a:pt x="116" y="200322"/>
                  </a:lnTo>
                  <a:cubicBezTo>
                    <a:pt x="77" y="179645"/>
                    <a:pt x="39" y="158969"/>
                    <a:pt x="0" y="138292"/>
                  </a:cubicBezTo>
                  <a:lnTo>
                    <a:pt x="9104" y="93909"/>
                  </a:lnTo>
                  <a:cubicBezTo>
                    <a:pt x="13927" y="73684"/>
                    <a:pt x="21966" y="31868"/>
                    <a:pt x="28940" y="16944"/>
                  </a:cubicBezTo>
                  <a:cubicBezTo>
                    <a:pt x="35914" y="2020"/>
                    <a:pt x="46796" y="6706"/>
                    <a:pt x="50949" y="4367"/>
                  </a:cubicBezTo>
                  <a:lnTo>
                    <a:pt x="53861" y="2912"/>
                  </a:lnTo>
                  <a:lnTo>
                    <a:pt x="61139" y="1456"/>
                  </a:lnTo>
                  <a:lnTo>
                    <a:pt x="72785" y="0"/>
                  </a:lnTo>
                  <a:close/>
                </a:path>
              </a:pathLst>
            </a:custGeom>
            <a:solidFill>
              <a:srgbClr val="7C2529"/>
            </a:solidFill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4" name="Rounded Rectangle 63"/>
            <p:cNvSpPr/>
            <p:nvPr/>
          </p:nvSpPr>
          <p:spPr bwMode="gray">
            <a:xfrm rot="20950035">
              <a:off x="7859880" y="5247416"/>
              <a:ext cx="143429" cy="404281"/>
            </a:xfrm>
            <a:prstGeom prst="roundRect">
              <a:avLst/>
            </a:prstGeom>
            <a:solidFill>
              <a:srgbClr val="7C252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65" name="Rounded Rectangle 64"/>
            <p:cNvSpPr/>
            <p:nvPr/>
          </p:nvSpPr>
          <p:spPr bwMode="gray">
            <a:xfrm rot="1172806">
              <a:off x="7844264" y="5553164"/>
              <a:ext cx="143429" cy="441685"/>
            </a:xfrm>
            <a:prstGeom prst="roundRect">
              <a:avLst>
                <a:gd name="adj" fmla="val 46845"/>
              </a:avLst>
            </a:prstGeom>
            <a:solidFill>
              <a:srgbClr val="7C252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66" name="Group 65"/>
          <p:cNvGrpSpPr/>
          <p:nvPr/>
        </p:nvGrpSpPr>
        <p:grpSpPr bwMode="gray">
          <a:xfrm>
            <a:off x="1431861" y="4705881"/>
            <a:ext cx="701739" cy="628119"/>
            <a:chOff x="1807942" y="3190749"/>
            <a:chExt cx="2610096" cy="2336272"/>
          </a:xfrm>
        </p:grpSpPr>
        <p:grpSp>
          <p:nvGrpSpPr>
            <p:cNvPr id="67" name="Group 66"/>
            <p:cNvGrpSpPr/>
            <p:nvPr/>
          </p:nvGrpSpPr>
          <p:grpSpPr bwMode="gray">
            <a:xfrm>
              <a:off x="1807942" y="3190749"/>
              <a:ext cx="917525" cy="2336272"/>
              <a:chOff x="2384708" y="3212095"/>
              <a:chExt cx="917526" cy="2336275"/>
            </a:xfrm>
          </p:grpSpPr>
          <p:sp>
            <p:nvSpPr>
              <p:cNvPr id="73" name="Rounded Rectangle 14365"/>
              <p:cNvSpPr/>
              <p:nvPr/>
            </p:nvSpPr>
            <p:spPr bwMode="gray">
              <a:xfrm rot="638881">
                <a:off x="2384708" y="3630266"/>
                <a:ext cx="917526" cy="1918104"/>
              </a:xfrm>
              <a:custGeom>
                <a:avLst/>
                <a:gdLst/>
                <a:ahLst/>
                <a:cxnLst/>
                <a:rect l="l" t="t" r="r" b="b"/>
                <a:pathLst>
                  <a:path w="689681" h="1441786">
                    <a:moveTo>
                      <a:pt x="110984" y="90992"/>
                    </a:moveTo>
                    <a:lnTo>
                      <a:pt x="152279" y="83228"/>
                    </a:lnTo>
                    <a:cubicBezTo>
                      <a:pt x="177222" y="78538"/>
                      <a:pt x="201245" y="94957"/>
                      <a:pt x="205936" y="119903"/>
                    </a:cubicBezTo>
                    <a:lnTo>
                      <a:pt x="207746" y="129530"/>
                    </a:lnTo>
                    <a:lnTo>
                      <a:pt x="210168" y="129826"/>
                    </a:lnTo>
                    <a:lnTo>
                      <a:pt x="210257" y="142893"/>
                    </a:lnTo>
                    <a:lnTo>
                      <a:pt x="226765" y="230695"/>
                    </a:lnTo>
                    <a:cubicBezTo>
                      <a:pt x="238049" y="257245"/>
                      <a:pt x="256169" y="280718"/>
                      <a:pt x="279449" y="299282"/>
                    </a:cubicBezTo>
                    <a:cubicBezTo>
                      <a:pt x="322883" y="333915"/>
                      <a:pt x="378984" y="347224"/>
                      <a:pt x="432281" y="335240"/>
                    </a:cubicBezTo>
                    <a:cubicBezTo>
                      <a:pt x="432870" y="333342"/>
                      <a:pt x="434122" y="332812"/>
                      <a:pt x="435408" y="332334"/>
                    </a:cubicBezTo>
                    <a:lnTo>
                      <a:pt x="498174" y="308971"/>
                    </a:lnTo>
                    <a:cubicBezTo>
                      <a:pt x="521962" y="300117"/>
                      <a:pt x="548422" y="312223"/>
                      <a:pt x="557275" y="336011"/>
                    </a:cubicBezTo>
                    <a:lnTo>
                      <a:pt x="571933" y="375388"/>
                    </a:lnTo>
                    <a:cubicBezTo>
                      <a:pt x="580787" y="399176"/>
                      <a:pt x="568681" y="425636"/>
                      <a:pt x="544893" y="434490"/>
                    </a:cubicBezTo>
                    <a:lnTo>
                      <a:pt x="503611" y="449856"/>
                    </a:lnTo>
                    <a:lnTo>
                      <a:pt x="504329" y="451848"/>
                    </a:lnTo>
                    <a:lnTo>
                      <a:pt x="489375" y="455155"/>
                    </a:lnTo>
                    <a:lnTo>
                      <a:pt x="482127" y="457853"/>
                    </a:lnTo>
                    <a:lnTo>
                      <a:pt x="477877" y="457697"/>
                    </a:lnTo>
                    <a:cubicBezTo>
                      <a:pt x="381540" y="485832"/>
                      <a:pt x="277374" y="464520"/>
                      <a:pt x="198097" y="401307"/>
                    </a:cubicBezTo>
                    <a:cubicBezTo>
                      <a:pt x="152140" y="364661"/>
                      <a:pt x="118045" y="316726"/>
                      <a:pt x="99284" y="262973"/>
                    </a:cubicBezTo>
                    <a:cubicBezTo>
                      <a:pt x="96466" y="261576"/>
                      <a:pt x="95880" y="259377"/>
                      <a:pt x="95453" y="257109"/>
                    </a:cubicBezTo>
                    <a:lnTo>
                      <a:pt x="90141" y="228852"/>
                    </a:lnTo>
                    <a:cubicBezTo>
                      <a:pt x="83767" y="213568"/>
                      <a:pt x="81026" y="197337"/>
                      <a:pt x="81100" y="180761"/>
                    </a:cubicBezTo>
                    <a:lnTo>
                      <a:pt x="74310" y="144650"/>
                    </a:lnTo>
                    <a:lnTo>
                      <a:pt x="80645" y="114464"/>
                    </a:lnTo>
                    <a:cubicBezTo>
                      <a:pt x="80607" y="114311"/>
                      <a:pt x="80624" y="114163"/>
                      <a:pt x="80641" y="114017"/>
                    </a:cubicBezTo>
                    <a:lnTo>
                      <a:pt x="80735" y="114027"/>
                    </a:lnTo>
                    <a:cubicBezTo>
                      <a:pt x="86026" y="102074"/>
                      <a:pt x="97204" y="93583"/>
                      <a:pt x="110984" y="90992"/>
                    </a:cubicBezTo>
                    <a:close/>
                    <a:moveTo>
                      <a:pt x="117184" y="5897"/>
                    </a:moveTo>
                    <a:cubicBezTo>
                      <a:pt x="129266" y="1948"/>
                      <a:pt x="142832" y="0"/>
                      <a:pt x="158462" y="0"/>
                    </a:cubicBezTo>
                    <a:lnTo>
                      <a:pt x="181513" y="0"/>
                    </a:lnTo>
                    <a:cubicBezTo>
                      <a:pt x="244034" y="0"/>
                      <a:pt x="294717" y="50683"/>
                      <a:pt x="294717" y="113204"/>
                    </a:cubicBezTo>
                    <a:lnTo>
                      <a:pt x="294717" y="118730"/>
                    </a:lnTo>
                    <a:cubicBezTo>
                      <a:pt x="322320" y="150903"/>
                      <a:pt x="361639" y="170186"/>
                      <a:pt x="404580" y="176496"/>
                    </a:cubicBezTo>
                    <a:cubicBezTo>
                      <a:pt x="456139" y="184072"/>
                      <a:pt x="508079" y="172234"/>
                      <a:pt x="550570" y="143925"/>
                    </a:cubicBezTo>
                    <a:cubicBezTo>
                      <a:pt x="550436" y="141592"/>
                      <a:pt x="551722" y="140079"/>
                      <a:pt x="553290" y="138780"/>
                    </a:cubicBezTo>
                    <a:lnTo>
                      <a:pt x="607505" y="93884"/>
                    </a:lnTo>
                    <a:cubicBezTo>
                      <a:pt x="614990" y="87685"/>
                      <a:pt x="626084" y="88728"/>
                      <a:pt x="632283" y="96214"/>
                    </a:cubicBezTo>
                    <a:lnTo>
                      <a:pt x="685638" y="160641"/>
                    </a:lnTo>
                    <a:cubicBezTo>
                      <a:pt x="691836" y="168127"/>
                      <a:pt x="690793" y="179220"/>
                      <a:pt x="683308" y="185419"/>
                    </a:cubicBezTo>
                    <a:lnTo>
                      <a:pt x="629092" y="230315"/>
                    </a:lnTo>
                    <a:lnTo>
                      <a:pt x="620874" y="232847"/>
                    </a:lnTo>
                    <a:cubicBezTo>
                      <a:pt x="554378" y="281256"/>
                      <a:pt x="470863" y="301620"/>
                      <a:pt x="387983" y="289440"/>
                    </a:cubicBezTo>
                    <a:cubicBezTo>
                      <a:pt x="354826" y="284568"/>
                      <a:pt x="323070" y="274678"/>
                      <a:pt x="294717" y="258366"/>
                    </a:cubicBezTo>
                    <a:lnTo>
                      <a:pt x="294717" y="302743"/>
                    </a:lnTo>
                    <a:cubicBezTo>
                      <a:pt x="268833" y="283125"/>
                      <a:pt x="248975" y="258032"/>
                      <a:pt x="236767" y="229532"/>
                    </a:cubicBezTo>
                    <a:lnTo>
                      <a:pt x="219619" y="132766"/>
                    </a:lnTo>
                    <a:lnTo>
                      <a:pt x="219808" y="118312"/>
                    </a:lnTo>
                    <a:lnTo>
                      <a:pt x="217009" y="118039"/>
                    </a:lnTo>
                    <a:lnTo>
                      <a:pt x="215129" y="107428"/>
                    </a:lnTo>
                    <a:cubicBezTo>
                      <a:pt x="210256" y="79937"/>
                      <a:pt x="182798" y="62311"/>
                      <a:pt x="153800" y="68060"/>
                    </a:cubicBezTo>
                    <a:lnTo>
                      <a:pt x="105792" y="77577"/>
                    </a:lnTo>
                    <a:cubicBezTo>
                      <a:pt x="89773" y="80753"/>
                      <a:pt x="76633" y="90397"/>
                      <a:pt x="70238" y="103741"/>
                    </a:cubicBezTo>
                    <a:lnTo>
                      <a:pt x="70129" y="103731"/>
                    </a:lnTo>
                    <a:cubicBezTo>
                      <a:pt x="70104" y="103894"/>
                      <a:pt x="70081" y="104058"/>
                      <a:pt x="70122" y="104227"/>
                    </a:cubicBezTo>
                    <a:lnTo>
                      <a:pt x="62107" y="137764"/>
                    </a:lnTo>
                    <a:lnTo>
                      <a:pt x="69160" y="177562"/>
                    </a:lnTo>
                    <a:cubicBezTo>
                      <a:pt x="68701" y="195903"/>
                      <a:pt x="71513" y="213797"/>
                      <a:pt x="78552" y="230563"/>
                    </a:cubicBezTo>
                    <a:lnTo>
                      <a:pt x="84071" y="261706"/>
                    </a:lnTo>
                    <a:cubicBezTo>
                      <a:pt x="84514" y="264206"/>
                      <a:pt x="85144" y="266626"/>
                      <a:pt x="88376" y="268108"/>
                    </a:cubicBezTo>
                    <a:cubicBezTo>
                      <a:pt x="108900" y="327154"/>
                      <a:pt x="147315" y="379420"/>
                      <a:pt x="199727" y="418931"/>
                    </a:cubicBezTo>
                    <a:cubicBezTo>
                      <a:pt x="228553" y="440661"/>
                      <a:pt x="260406" y="457622"/>
                      <a:pt x="294717" y="467723"/>
                    </a:cubicBezTo>
                    <a:lnTo>
                      <a:pt x="294717" y="515746"/>
                    </a:lnTo>
                    <a:cubicBezTo>
                      <a:pt x="294717" y="538233"/>
                      <a:pt x="296580" y="561221"/>
                      <a:pt x="295118" y="581419"/>
                    </a:cubicBezTo>
                    <a:cubicBezTo>
                      <a:pt x="295948" y="582856"/>
                      <a:pt x="296399" y="584763"/>
                      <a:pt x="296838" y="587103"/>
                    </a:cubicBezTo>
                    <a:cubicBezTo>
                      <a:pt x="321875" y="719450"/>
                      <a:pt x="429235" y="827000"/>
                      <a:pt x="454272" y="959347"/>
                    </a:cubicBezTo>
                    <a:cubicBezTo>
                      <a:pt x="478012" y="1086435"/>
                      <a:pt x="444384" y="1255377"/>
                      <a:pt x="468124" y="1382466"/>
                    </a:cubicBezTo>
                    <a:cubicBezTo>
                      <a:pt x="471270" y="1399201"/>
                      <a:pt x="460255" y="1415317"/>
                      <a:pt x="443520" y="1418463"/>
                    </a:cubicBezTo>
                    <a:lnTo>
                      <a:pt x="322321" y="1441250"/>
                    </a:lnTo>
                    <a:cubicBezTo>
                      <a:pt x="305585" y="1444396"/>
                      <a:pt x="289469" y="1433382"/>
                      <a:pt x="286323" y="1416647"/>
                    </a:cubicBezTo>
                    <a:cubicBezTo>
                      <a:pt x="258913" y="1277821"/>
                      <a:pt x="289824" y="1118713"/>
                      <a:pt x="262415" y="979887"/>
                    </a:cubicBezTo>
                    <a:cubicBezTo>
                      <a:pt x="240597" y="864557"/>
                      <a:pt x="159451" y="770233"/>
                      <a:pt x="138216" y="713044"/>
                    </a:cubicBezTo>
                    <a:lnTo>
                      <a:pt x="137121" y="713735"/>
                    </a:lnTo>
                    <a:cubicBezTo>
                      <a:pt x="74601" y="713735"/>
                      <a:pt x="15252" y="583908"/>
                      <a:pt x="15252" y="521387"/>
                    </a:cubicBezTo>
                    <a:cubicBezTo>
                      <a:pt x="16320" y="456510"/>
                      <a:pt x="310" y="366887"/>
                      <a:pt x="1378" y="302010"/>
                    </a:cubicBezTo>
                    <a:cubicBezTo>
                      <a:pt x="310" y="232707"/>
                      <a:pt x="-7889" y="158525"/>
                      <a:pt x="32872" y="96891"/>
                    </a:cubicBezTo>
                    <a:cubicBezTo>
                      <a:pt x="58050" y="47595"/>
                      <a:pt x="80938" y="17742"/>
                      <a:pt x="117184" y="5897"/>
                    </a:cubicBezTo>
                    <a:close/>
                  </a:path>
                </a:pathLst>
              </a:custGeom>
              <a:solidFill>
                <a:srgbClr val="7C252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kern="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4" name="Oval 73"/>
              <p:cNvSpPr/>
              <p:nvPr/>
            </p:nvSpPr>
            <p:spPr bwMode="gray">
              <a:xfrm>
                <a:off x="2730524" y="3212095"/>
                <a:ext cx="407373" cy="407373"/>
              </a:xfrm>
              <a:prstGeom prst="ellipse">
                <a:avLst/>
              </a:prstGeom>
              <a:solidFill>
                <a:srgbClr val="7C252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n-US" kern="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68" name="Group 67"/>
            <p:cNvGrpSpPr/>
            <p:nvPr/>
          </p:nvGrpSpPr>
          <p:grpSpPr bwMode="gray">
            <a:xfrm>
              <a:off x="3478240" y="3289398"/>
              <a:ext cx="939798" cy="2237623"/>
              <a:chOff x="3052073" y="3289393"/>
              <a:chExt cx="939799" cy="2237620"/>
            </a:xfrm>
          </p:grpSpPr>
          <p:sp>
            <p:nvSpPr>
              <p:cNvPr id="71" name="Oval 95726"/>
              <p:cNvSpPr>
                <a:spLocks noChangeArrowheads="1"/>
              </p:cNvSpPr>
              <p:nvPr/>
            </p:nvSpPr>
            <p:spPr bwMode="gray">
              <a:xfrm>
                <a:off x="3320583" y="3289393"/>
                <a:ext cx="402772" cy="402774"/>
              </a:xfrm>
              <a:prstGeom prst="ellipse">
                <a:avLst/>
              </a:prstGeom>
              <a:solidFill>
                <a:srgbClr val="7C25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s-CR" kern="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2" name="Freeform 95727"/>
              <p:cNvSpPr>
                <a:spLocks/>
              </p:cNvSpPr>
              <p:nvPr/>
            </p:nvSpPr>
            <p:spPr bwMode="gray">
              <a:xfrm>
                <a:off x="3052073" y="3736915"/>
                <a:ext cx="939799" cy="1790098"/>
              </a:xfrm>
              <a:custGeom>
                <a:avLst/>
                <a:gdLst>
                  <a:gd name="T0" fmla="*/ 49 w 49"/>
                  <a:gd name="T1" fmla="*/ 11 h 92"/>
                  <a:gd name="T2" fmla="*/ 35 w 49"/>
                  <a:gd name="T3" fmla="*/ 0 h 92"/>
                  <a:gd name="T4" fmla="*/ 15 w 49"/>
                  <a:gd name="T5" fmla="*/ 0 h 92"/>
                  <a:gd name="T6" fmla="*/ 0 w 49"/>
                  <a:gd name="T7" fmla="*/ 11 h 92"/>
                  <a:gd name="T8" fmla="*/ 0 w 49"/>
                  <a:gd name="T9" fmla="*/ 36 h 92"/>
                  <a:gd name="T10" fmla="*/ 0 w 49"/>
                  <a:gd name="T11" fmla="*/ 36 h 92"/>
                  <a:gd name="T12" fmla="*/ 0 w 49"/>
                  <a:gd name="T13" fmla="*/ 36 h 92"/>
                  <a:gd name="T14" fmla="*/ 5 w 49"/>
                  <a:gd name="T15" fmla="*/ 41 h 92"/>
                  <a:gd name="T16" fmla="*/ 9 w 49"/>
                  <a:gd name="T17" fmla="*/ 36 h 92"/>
                  <a:gd name="T18" fmla="*/ 9 w 49"/>
                  <a:gd name="T19" fmla="*/ 36 h 92"/>
                  <a:gd name="T20" fmla="*/ 9 w 49"/>
                  <a:gd name="T21" fmla="*/ 36 h 92"/>
                  <a:gd name="T22" fmla="*/ 9 w 49"/>
                  <a:gd name="T23" fmla="*/ 13 h 92"/>
                  <a:gd name="T24" fmla="*/ 12 w 49"/>
                  <a:gd name="T25" fmla="*/ 13 h 92"/>
                  <a:gd name="T26" fmla="*/ 12 w 49"/>
                  <a:gd name="T27" fmla="*/ 87 h 92"/>
                  <a:gd name="T28" fmla="*/ 18 w 49"/>
                  <a:gd name="T29" fmla="*/ 92 h 92"/>
                  <a:gd name="T30" fmla="*/ 23 w 49"/>
                  <a:gd name="T31" fmla="*/ 87 h 92"/>
                  <a:gd name="T32" fmla="*/ 23 w 49"/>
                  <a:gd name="T33" fmla="*/ 39 h 92"/>
                  <a:gd name="T34" fmla="*/ 26 w 49"/>
                  <a:gd name="T35" fmla="*/ 39 h 92"/>
                  <a:gd name="T36" fmla="*/ 26 w 49"/>
                  <a:gd name="T37" fmla="*/ 87 h 92"/>
                  <a:gd name="T38" fmla="*/ 26 w 49"/>
                  <a:gd name="T39" fmla="*/ 87 h 92"/>
                  <a:gd name="T40" fmla="*/ 32 w 49"/>
                  <a:gd name="T41" fmla="*/ 92 h 92"/>
                  <a:gd name="T42" fmla="*/ 38 w 49"/>
                  <a:gd name="T43" fmla="*/ 87 h 92"/>
                  <a:gd name="T44" fmla="*/ 38 w 49"/>
                  <a:gd name="T45" fmla="*/ 13 h 92"/>
                  <a:gd name="T46" fmla="*/ 41 w 49"/>
                  <a:gd name="T47" fmla="*/ 13 h 92"/>
                  <a:gd name="T48" fmla="*/ 41 w 49"/>
                  <a:gd name="T49" fmla="*/ 36 h 92"/>
                  <a:gd name="T50" fmla="*/ 41 w 49"/>
                  <a:gd name="T51" fmla="*/ 36 h 92"/>
                  <a:gd name="T52" fmla="*/ 41 w 49"/>
                  <a:gd name="T53" fmla="*/ 36 h 92"/>
                  <a:gd name="T54" fmla="*/ 45 w 49"/>
                  <a:gd name="T55" fmla="*/ 41 h 92"/>
                  <a:gd name="T56" fmla="*/ 49 w 49"/>
                  <a:gd name="T57" fmla="*/ 36 h 92"/>
                  <a:gd name="T58" fmla="*/ 49 w 49"/>
                  <a:gd name="T59" fmla="*/ 36 h 92"/>
                  <a:gd name="T60" fmla="*/ 49 w 49"/>
                  <a:gd name="T61" fmla="*/ 11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9" h="92">
                    <a:moveTo>
                      <a:pt x="49" y="11"/>
                    </a:moveTo>
                    <a:cubicBezTo>
                      <a:pt x="48" y="0"/>
                      <a:pt x="35" y="0"/>
                      <a:pt x="35" y="0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0" y="0"/>
                      <a:pt x="0" y="11"/>
                      <a:pt x="0" y="11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0" y="39"/>
                      <a:pt x="2" y="41"/>
                      <a:pt x="5" y="41"/>
                    </a:cubicBezTo>
                    <a:cubicBezTo>
                      <a:pt x="7" y="41"/>
                      <a:pt x="9" y="39"/>
                      <a:pt x="9" y="36"/>
                    </a:cubicBezTo>
                    <a:cubicBezTo>
                      <a:pt x="9" y="36"/>
                      <a:pt x="9" y="36"/>
                      <a:pt x="9" y="36"/>
                    </a:cubicBezTo>
                    <a:cubicBezTo>
                      <a:pt x="9" y="36"/>
                      <a:pt x="9" y="36"/>
                      <a:pt x="9" y="36"/>
                    </a:cubicBezTo>
                    <a:cubicBezTo>
                      <a:pt x="9" y="13"/>
                      <a:pt x="9" y="13"/>
                      <a:pt x="9" y="13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12" y="87"/>
                      <a:pt x="12" y="87"/>
                      <a:pt x="12" y="87"/>
                    </a:cubicBezTo>
                    <a:cubicBezTo>
                      <a:pt x="12" y="90"/>
                      <a:pt x="14" y="92"/>
                      <a:pt x="18" y="92"/>
                    </a:cubicBezTo>
                    <a:cubicBezTo>
                      <a:pt x="21" y="92"/>
                      <a:pt x="23" y="90"/>
                      <a:pt x="23" y="87"/>
                    </a:cubicBezTo>
                    <a:cubicBezTo>
                      <a:pt x="23" y="39"/>
                      <a:pt x="23" y="39"/>
                      <a:pt x="23" y="39"/>
                    </a:cubicBezTo>
                    <a:cubicBezTo>
                      <a:pt x="26" y="39"/>
                      <a:pt x="26" y="39"/>
                      <a:pt x="26" y="39"/>
                    </a:cubicBezTo>
                    <a:cubicBezTo>
                      <a:pt x="26" y="87"/>
                      <a:pt x="26" y="87"/>
                      <a:pt x="26" y="87"/>
                    </a:cubicBezTo>
                    <a:cubicBezTo>
                      <a:pt x="26" y="87"/>
                      <a:pt x="26" y="87"/>
                      <a:pt x="26" y="87"/>
                    </a:cubicBezTo>
                    <a:cubicBezTo>
                      <a:pt x="26" y="90"/>
                      <a:pt x="29" y="92"/>
                      <a:pt x="32" y="92"/>
                    </a:cubicBezTo>
                    <a:cubicBezTo>
                      <a:pt x="35" y="92"/>
                      <a:pt x="38" y="90"/>
                      <a:pt x="38" y="87"/>
                    </a:cubicBezTo>
                    <a:cubicBezTo>
                      <a:pt x="38" y="13"/>
                      <a:pt x="38" y="13"/>
                      <a:pt x="38" y="13"/>
                    </a:cubicBezTo>
                    <a:cubicBezTo>
                      <a:pt x="41" y="13"/>
                      <a:pt x="41" y="13"/>
                      <a:pt x="41" y="13"/>
                    </a:cubicBezTo>
                    <a:cubicBezTo>
                      <a:pt x="41" y="36"/>
                      <a:pt x="41" y="36"/>
                      <a:pt x="41" y="36"/>
                    </a:cubicBezTo>
                    <a:cubicBezTo>
                      <a:pt x="41" y="36"/>
                      <a:pt x="41" y="36"/>
                      <a:pt x="41" y="36"/>
                    </a:cubicBezTo>
                    <a:cubicBezTo>
                      <a:pt x="41" y="36"/>
                      <a:pt x="41" y="36"/>
                      <a:pt x="41" y="36"/>
                    </a:cubicBezTo>
                    <a:cubicBezTo>
                      <a:pt x="41" y="39"/>
                      <a:pt x="43" y="41"/>
                      <a:pt x="45" y="41"/>
                    </a:cubicBezTo>
                    <a:cubicBezTo>
                      <a:pt x="47" y="41"/>
                      <a:pt x="49" y="39"/>
                      <a:pt x="49" y="36"/>
                    </a:cubicBezTo>
                    <a:cubicBezTo>
                      <a:pt x="49" y="36"/>
                      <a:pt x="49" y="36"/>
                      <a:pt x="49" y="36"/>
                    </a:cubicBezTo>
                    <a:lnTo>
                      <a:pt x="49" y="11"/>
                    </a:lnTo>
                    <a:close/>
                  </a:path>
                </a:pathLst>
              </a:custGeom>
              <a:solidFill>
                <a:srgbClr val="7C25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lang="es-CR" kern="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69" name="Freeform 68"/>
            <p:cNvSpPr/>
            <p:nvPr/>
          </p:nvSpPr>
          <p:spPr bwMode="gray">
            <a:xfrm>
              <a:off x="2533649" y="3805242"/>
              <a:ext cx="909637" cy="1247776"/>
            </a:xfrm>
            <a:custGeom>
              <a:avLst/>
              <a:gdLst>
                <a:gd name="connsiteX0" fmla="*/ 85725 w 895350"/>
                <a:gd name="connsiteY0" fmla="*/ 352425 h 1295400"/>
                <a:gd name="connsiteX1" fmla="*/ 271463 w 895350"/>
                <a:gd name="connsiteY1" fmla="*/ 71437 h 1295400"/>
                <a:gd name="connsiteX2" fmla="*/ 323850 w 895350"/>
                <a:gd name="connsiteY2" fmla="*/ 0 h 1295400"/>
                <a:gd name="connsiteX3" fmla="*/ 419100 w 895350"/>
                <a:gd name="connsiteY3" fmla="*/ 76200 h 1295400"/>
                <a:gd name="connsiteX4" fmla="*/ 738188 w 895350"/>
                <a:gd name="connsiteY4" fmla="*/ 90487 h 1295400"/>
                <a:gd name="connsiteX5" fmla="*/ 881063 w 895350"/>
                <a:gd name="connsiteY5" fmla="*/ 461962 h 1295400"/>
                <a:gd name="connsiteX6" fmla="*/ 895350 w 895350"/>
                <a:gd name="connsiteY6" fmla="*/ 919162 h 1295400"/>
                <a:gd name="connsiteX7" fmla="*/ 809625 w 895350"/>
                <a:gd name="connsiteY7" fmla="*/ 871537 h 1295400"/>
                <a:gd name="connsiteX8" fmla="*/ 766763 w 895350"/>
                <a:gd name="connsiteY8" fmla="*/ 838200 h 1295400"/>
                <a:gd name="connsiteX9" fmla="*/ 776288 w 895350"/>
                <a:gd name="connsiteY9" fmla="*/ 481012 h 1295400"/>
                <a:gd name="connsiteX10" fmla="*/ 623888 w 895350"/>
                <a:gd name="connsiteY10" fmla="*/ 185737 h 1295400"/>
                <a:gd name="connsiteX11" fmla="*/ 533400 w 895350"/>
                <a:gd name="connsiteY11" fmla="*/ 161925 h 1295400"/>
                <a:gd name="connsiteX12" fmla="*/ 719138 w 895350"/>
                <a:gd name="connsiteY12" fmla="*/ 690562 h 1295400"/>
                <a:gd name="connsiteX13" fmla="*/ 509588 w 895350"/>
                <a:gd name="connsiteY13" fmla="*/ 1195387 h 1295400"/>
                <a:gd name="connsiteX14" fmla="*/ 166688 w 895350"/>
                <a:gd name="connsiteY14" fmla="*/ 419100 h 1295400"/>
                <a:gd name="connsiteX15" fmla="*/ 123825 w 895350"/>
                <a:gd name="connsiteY15" fmla="*/ 704850 h 1295400"/>
                <a:gd name="connsiteX16" fmla="*/ 419100 w 895350"/>
                <a:gd name="connsiteY16" fmla="*/ 1295400 h 1295400"/>
                <a:gd name="connsiteX17" fmla="*/ 200025 w 895350"/>
                <a:gd name="connsiteY17" fmla="*/ 1247775 h 1295400"/>
                <a:gd name="connsiteX18" fmla="*/ 0 w 895350"/>
                <a:gd name="connsiteY18" fmla="*/ 661987 h 1295400"/>
                <a:gd name="connsiteX19" fmla="*/ 85725 w 895350"/>
                <a:gd name="connsiteY19" fmla="*/ 352425 h 1295400"/>
                <a:gd name="connsiteX0" fmla="*/ 85725 w 895350"/>
                <a:gd name="connsiteY0" fmla="*/ 352425 h 1295400"/>
                <a:gd name="connsiteX1" fmla="*/ 271463 w 895350"/>
                <a:gd name="connsiteY1" fmla="*/ 71437 h 1295400"/>
                <a:gd name="connsiteX2" fmla="*/ 323850 w 895350"/>
                <a:gd name="connsiteY2" fmla="*/ 0 h 1295400"/>
                <a:gd name="connsiteX3" fmla="*/ 502444 w 895350"/>
                <a:gd name="connsiteY3" fmla="*/ 7144 h 1295400"/>
                <a:gd name="connsiteX4" fmla="*/ 738188 w 895350"/>
                <a:gd name="connsiteY4" fmla="*/ 90487 h 1295400"/>
                <a:gd name="connsiteX5" fmla="*/ 881063 w 895350"/>
                <a:gd name="connsiteY5" fmla="*/ 461962 h 1295400"/>
                <a:gd name="connsiteX6" fmla="*/ 895350 w 895350"/>
                <a:gd name="connsiteY6" fmla="*/ 919162 h 1295400"/>
                <a:gd name="connsiteX7" fmla="*/ 809625 w 895350"/>
                <a:gd name="connsiteY7" fmla="*/ 871537 h 1295400"/>
                <a:gd name="connsiteX8" fmla="*/ 766763 w 895350"/>
                <a:gd name="connsiteY8" fmla="*/ 838200 h 1295400"/>
                <a:gd name="connsiteX9" fmla="*/ 776288 w 895350"/>
                <a:gd name="connsiteY9" fmla="*/ 481012 h 1295400"/>
                <a:gd name="connsiteX10" fmla="*/ 623888 w 895350"/>
                <a:gd name="connsiteY10" fmla="*/ 185737 h 1295400"/>
                <a:gd name="connsiteX11" fmla="*/ 533400 w 895350"/>
                <a:gd name="connsiteY11" fmla="*/ 161925 h 1295400"/>
                <a:gd name="connsiteX12" fmla="*/ 719138 w 895350"/>
                <a:gd name="connsiteY12" fmla="*/ 690562 h 1295400"/>
                <a:gd name="connsiteX13" fmla="*/ 509588 w 895350"/>
                <a:gd name="connsiteY13" fmla="*/ 1195387 h 1295400"/>
                <a:gd name="connsiteX14" fmla="*/ 166688 w 895350"/>
                <a:gd name="connsiteY14" fmla="*/ 419100 h 1295400"/>
                <a:gd name="connsiteX15" fmla="*/ 123825 w 895350"/>
                <a:gd name="connsiteY15" fmla="*/ 704850 h 1295400"/>
                <a:gd name="connsiteX16" fmla="*/ 419100 w 895350"/>
                <a:gd name="connsiteY16" fmla="*/ 1295400 h 1295400"/>
                <a:gd name="connsiteX17" fmla="*/ 200025 w 895350"/>
                <a:gd name="connsiteY17" fmla="*/ 1247775 h 1295400"/>
                <a:gd name="connsiteX18" fmla="*/ 0 w 895350"/>
                <a:gd name="connsiteY18" fmla="*/ 661987 h 1295400"/>
                <a:gd name="connsiteX19" fmla="*/ 85725 w 895350"/>
                <a:gd name="connsiteY19" fmla="*/ 352425 h 1295400"/>
                <a:gd name="connsiteX0" fmla="*/ 85725 w 895350"/>
                <a:gd name="connsiteY0" fmla="*/ 352425 h 1295400"/>
                <a:gd name="connsiteX1" fmla="*/ 271463 w 895350"/>
                <a:gd name="connsiteY1" fmla="*/ 71437 h 1295400"/>
                <a:gd name="connsiteX2" fmla="*/ 323850 w 895350"/>
                <a:gd name="connsiteY2" fmla="*/ 0 h 1295400"/>
                <a:gd name="connsiteX3" fmla="*/ 502444 w 895350"/>
                <a:gd name="connsiteY3" fmla="*/ 7144 h 1295400"/>
                <a:gd name="connsiteX4" fmla="*/ 738188 w 895350"/>
                <a:gd name="connsiteY4" fmla="*/ 90487 h 1295400"/>
                <a:gd name="connsiteX5" fmla="*/ 881063 w 895350"/>
                <a:gd name="connsiteY5" fmla="*/ 461962 h 1295400"/>
                <a:gd name="connsiteX6" fmla="*/ 895350 w 895350"/>
                <a:gd name="connsiteY6" fmla="*/ 919162 h 1295400"/>
                <a:gd name="connsiteX7" fmla="*/ 809625 w 895350"/>
                <a:gd name="connsiteY7" fmla="*/ 871537 h 1295400"/>
                <a:gd name="connsiteX8" fmla="*/ 766763 w 895350"/>
                <a:gd name="connsiteY8" fmla="*/ 838200 h 1295400"/>
                <a:gd name="connsiteX9" fmla="*/ 776288 w 895350"/>
                <a:gd name="connsiteY9" fmla="*/ 481012 h 1295400"/>
                <a:gd name="connsiteX10" fmla="*/ 623888 w 895350"/>
                <a:gd name="connsiteY10" fmla="*/ 185737 h 1295400"/>
                <a:gd name="connsiteX11" fmla="*/ 533400 w 895350"/>
                <a:gd name="connsiteY11" fmla="*/ 161925 h 1295400"/>
                <a:gd name="connsiteX12" fmla="*/ 719138 w 895350"/>
                <a:gd name="connsiteY12" fmla="*/ 690562 h 1295400"/>
                <a:gd name="connsiteX13" fmla="*/ 509588 w 895350"/>
                <a:gd name="connsiteY13" fmla="*/ 1195387 h 1295400"/>
                <a:gd name="connsiteX14" fmla="*/ 188119 w 895350"/>
                <a:gd name="connsiteY14" fmla="*/ 459581 h 1295400"/>
                <a:gd name="connsiteX15" fmla="*/ 123825 w 895350"/>
                <a:gd name="connsiteY15" fmla="*/ 704850 h 1295400"/>
                <a:gd name="connsiteX16" fmla="*/ 419100 w 895350"/>
                <a:gd name="connsiteY16" fmla="*/ 1295400 h 1295400"/>
                <a:gd name="connsiteX17" fmla="*/ 200025 w 895350"/>
                <a:gd name="connsiteY17" fmla="*/ 1247775 h 1295400"/>
                <a:gd name="connsiteX18" fmla="*/ 0 w 895350"/>
                <a:gd name="connsiteY18" fmla="*/ 661987 h 1295400"/>
                <a:gd name="connsiteX19" fmla="*/ 85725 w 895350"/>
                <a:gd name="connsiteY19" fmla="*/ 352425 h 1295400"/>
                <a:gd name="connsiteX0" fmla="*/ 85725 w 895350"/>
                <a:gd name="connsiteY0" fmla="*/ 352425 h 1247775"/>
                <a:gd name="connsiteX1" fmla="*/ 271463 w 895350"/>
                <a:gd name="connsiteY1" fmla="*/ 71437 h 1247775"/>
                <a:gd name="connsiteX2" fmla="*/ 323850 w 895350"/>
                <a:gd name="connsiteY2" fmla="*/ 0 h 1247775"/>
                <a:gd name="connsiteX3" fmla="*/ 502444 w 895350"/>
                <a:gd name="connsiteY3" fmla="*/ 7144 h 1247775"/>
                <a:gd name="connsiteX4" fmla="*/ 738188 w 895350"/>
                <a:gd name="connsiteY4" fmla="*/ 90487 h 1247775"/>
                <a:gd name="connsiteX5" fmla="*/ 881063 w 895350"/>
                <a:gd name="connsiteY5" fmla="*/ 461962 h 1247775"/>
                <a:gd name="connsiteX6" fmla="*/ 895350 w 895350"/>
                <a:gd name="connsiteY6" fmla="*/ 919162 h 1247775"/>
                <a:gd name="connsiteX7" fmla="*/ 809625 w 895350"/>
                <a:gd name="connsiteY7" fmla="*/ 871537 h 1247775"/>
                <a:gd name="connsiteX8" fmla="*/ 766763 w 895350"/>
                <a:gd name="connsiteY8" fmla="*/ 838200 h 1247775"/>
                <a:gd name="connsiteX9" fmla="*/ 776288 w 895350"/>
                <a:gd name="connsiteY9" fmla="*/ 481012 h 1247775"/>
                <a:gd name="connsiteX10" fmla="*/ 623888 w 895350"/>
                <a:gd name="connsiteY10" fmla="*/ 185737 h 1247775"/>
                <a:gd name="connsiteX11" fmla="*/ 533400 w 895350"/>
                <a:gd name="connsiteY11" fmla="*/ 161925 h 1247775"/>
                <a:gd name="connsiteX12" fmla="*/ 719138 w 895350"/>
                <a:gd name="connsiteY12" fmla="*/ 690562 h 1247775"/>
                <a:gd name="connsiteX13" fmla="*/ 509588 w 895350"/>
                <a:gd name="connsiteY13" fmla="*/ 1195387 h 1247775"/>
                <a:gd name="connsiteX14" fmla="*/ 188119 w 895350"/>
                <a:gd name="connsiteY14" fmla="*/ 459581 h 1247775"/>
                <a:gd name="connsiteX15" fmla="*/ 123825 w 895350"/>
                <a:gd name="connsiteY15" fmla="*/ 704850 h 1247775"/>
                <a:gd name="connsiteX16" fmla="*/ 335756 w 895350"/>
                <a:gd name="connsiteY16" fmla="*/ 1183481 h 1247775"/>
                <a:gd name="connsiteX17" fmla="*/ 200025 w 895350"/>
                <a:gd name="connsiteY17" fmla="*/ 1247775 h 1247775"/>
                <a:gd name="connsiteX18" fmla="*/ 0 w 895350"/>
                <a:gd name="connsiteY18" fmla="*/ 661987 h 1247775"/>
                <a:gd name="connsiteX19" fmla="*/ 85725 w 895350"/>
                <a:gd name="connsiteY19" fmla="*/ 352425 h 1247775"/>
                <a:gd name="connsiteX0" fmla="*/ 85725 w 895350"/>
                <a:gd name="connsiteY0" fmla="*/ 352425 h 1247775"/>
                <a:gd name="connsiteX1" fmla="*/ 271463 w 895350"/>
                <a:gd name="connsiteY1" fmla="*/ 71437 h 1247775"/>
                <a:gd name="connsiteX2" fmla="*/ 323850 w 895350"/>
                <a:gd name="connsiteY2" fmla="*/ 0 h 1247775"/>
                <a:gd name="connsiteX3" fmla="*/ 502444 w 895350"/>
                <a:gd name="connsiteY3" fmla="*/ 7144 h 1247775"/>
                <a:gd name="connsiteX4" fmla="*/ 738188 w 895350"/>
                <a:gd name="connsiteY4" fmla="*/ 90487 h 1247775"/>
                <a:gd name="connsiteX5" fmla="*/ 881063 w 895350"/>
                <a:gd name="connsiteY5" fmla="*/ 461962 h 1247775"/>
                <a:gd name="connsiteX6" fmla="*/ 895350 w 895350"/>
                <a:gd name="connsiteY6" fmla="*/ 919162 h 1247775"/>
                <a:gd name="connsiteX7" fmla="*/ 809625 w 895350"/>
                <a:gd name="connsiteY7" fmla="*/ 871537 h 1247775"/>
                <a:gd name="connsiteX8" fmla="*/ 766763 w 895350"/>
                <a:gd name="connsiteY8" fmla="*/ 838200 h 1247775"/>
                <a:gd name="connsiteX9" fmla="*/ 776288 w 895350"/>
                <a:gd name="connsiteY9" fmla="*/ 481012 h 1247775"/>
                <a:gd name="connsiteX10" fmla="*/ 623888 w 895350"/>
                <a:gd name="connsiteY10" fmla="*/ 185737 h 1247775"/>
                <a:gd name="connsiteX11" fmla="*/ 533400 w 895350"/>
                <a:gd name="connsiteY11" fmla="*/ 161925 h 1247775"/>
                <a:gd name="connsiteX12" fmla="*/ 719138 w 895350"/>
                <a:gd name="connsiteY12" fmla="*/ 690562 h 1247775"/>
                <a:gd name="connsiteX13" fmla="*/ 509588 w 895350"/>
                <a:gd name="connsiteY13" fmla="*/ 1195387 h 1247775"/>
                <a:gd name="connsiteX14" fmla="*/ 188119 w 895350"/>
                <a:gd name="connsiteY14" fmla="*/ 459581 h 1247775"/>
                <a:gd name="connsiteX15" fmla="*/ 123825 w 895350"/>
                <a:gd name="connsiteY15" fmla="*/ 704850 h 1247775"/>
                <a:gd name="connsiteX16" fmla="*/ 309562 w 895350"/>
                <a:gd name="connsiteY16" fmla="*/ 1193006 h 1247775"/>
                <a:gd name="connsiteX17" fmla="*/ 200025 w 895350"/>
                <a:gd name="connsiteY17" fmla="*/ 1247775 h 1247775"/>
                <a:gd name="connsiteX18" fmla="*/ 0 w 895350"/>
                <a:gd name="connsiteY18" fmla="*/ 661987 h 1247775"/>
                <a:gd name="connsiteX19" fmla="*/ 85725 w 895350"/>
                <a:gd name="connsiteY19" fmla="*/ 352425 h 1247775"/>
                <a:gd name="connsiteX0" fmla="*/ 85725 w 883444"/>
                <a:gd name="connsiteY0" fmla="*/ 352425 h 1247775"/>
                <a:gd name="connsiteX1" fmla="*/ 271463 w 883444"/>
                <a:gd name="connsiteY1" fmla="*/ 71437 h 1247775"/>
                <a:gd name="connsiteX2" fmla="*/ 323850 w 883444"/>
                <a:gd name="connsiteY2" fmla="*/ 0 h 1247775"/>
                <a:gd name="connsiteX3" fmla="*/ 502444 w 883444"/>
                <a:gd name="connsiteY3" fmla="*/ 7144 h 1247775"/>
                <a:gd name="connsiteX4" fmla="*/ 738188 w 883444"/>
                <a:gd name="connsiteY4" fmla="*/ 90487 h 1247775"/>
                <a:gd name="connsiteX5" fmla="*/ 881063 w 883444"/>
                <a:gd name="connsiteY5" fmla="*/ 461962 h 1247775"/>
                <a:gd name="connsiteX6" fmla="*/ 883444 w 883444"/>
                <a:gd name="connsiteY6" fmla="*/ 852487 h 1247775"/>
                <a:gd name="connsiteX7" fmla="*/ 809625 w 883444"/>
                <a:gd name="connsiteY7" fmla="*/ 871537 h 1247775"/>
                <a:gd name="connsiteX8" fmla="*/ 766763 w 883444"/>
                <a:gd name="connsiteY8" fmla="*/ 838200 h 1247775"/>
                <a:gd name="connsiteX9" fmla="*/ 776288 w 883444"/>
                <a:gd name="connsiteY9" fmla="*/ 481012 h 1247775"/>
                <a:gd name="connsiteX10" fmla="*/ 623888 w 883444"/>
                <a:gd name="connsiteY10" fmla="*/ 185737 h 1247775"/>
                <a:gd name="connsiteX11" fmla="*/ 533400 w 883444"/>
                <a:gd name="connsiteY11" fmla="*/ 161925 h 1247775"/>
                <a:gd name="connsiteX12" fmla="*/ 719138 w 883444"/>
                <a:gd name="connsiteY12" fmla="*/ 690562 h 1247775"/>
                <a:gd name="connsiteX13" fmla="*/ 509588 w 883444"/>
                <a:gd name="connsiteY13" fmla="*/ 1195387 h 1247775"/>
                <a:gd name="connsiteX14" fmla="*/ 188119 w 883444"/>
                <a:gd name="connsiteY14" fmla="*/ 459581 h 1247775"/>
                <a:gd name="connsiteX15" fmla="*/ 123825 w 883444"/>
                <a:gd name="connsiteY15" fmla="*/ 704850 h 1247775"/>
                <a:gd name="connsiteX16" fmla="*/ 309562 w 883444"/>
                <a:gd name="connsiteY16" fmla="*/ 1193006 h 1247775"/>
                <a:gd name="connsiteX17" fmla="*/ 200025 w 883444"/>
                <a:gd name="connsiteY17" fmla="*/ 1247775 h 1247775"/>
                <a:gd name="connsiteX18" fmla="*/ 0 w 883444"/>
                <a:gd name="connsiteY18" fmla="*/ 661987 h 1247775"/>
                <a:gd name="connsiteX19" fmla="*/ 85725 w 883444"/>
                <a:gd name="connsiteY19" fmla="*/ 352425 h 1247775"/>
                <a:gd name="connsiteX0" fmla="*/ 85725 w 883444"/>
                <a:gd name="connsiteY0" fmla="*/ 352425 h 1247775"/>
                <a:gd name="connsiteX1" fmla="*/ 271463 w 883444"/>
                <a:gd name="connsiteY1" fmla="*/ 71437 h 1247775"/>
                <a:gd name="connsiteX2" fmla="*/ 323850 w 883444"/>
                <a:gd name="connsiteY2" fmla="*/ 0 h 1247775"/>
                <a:gd name="connsiteX3" fmla="*/ 502444 w 883444"/>
                <a:gd name="connsiteY3" fmla="*/ 7144 h 1247775"/>
                <a:gd name="connsiteX4" fmla="*/ 738188 w 883444"/>
                <a:gd name="connsiteY4" fmla="*/ 90487 h 1247775"/>
                <a:gd name="connsiteX5" fmla="*/ 881063 w 883444"/>
                <a:gd name="connsiteY5" fmla="*/ 461962 h 1247775"/>
                <a:gd name="connsiteX6" fmla="*/ 883444 w 883444"/>
                <a:gd name="connsiteY6" fmla="*/ 852487 h 1247775"/>
                <a:gd name="connsiteX7" fmla="*/ 766763 w 883444"/>
                <a:gd name="connsiteY7" fmla="*/ 838200 h 1247775"/>
                <a:gd name="connsiteX8" fmla="*/ 776288 w 883444"/>
                <a:gd name="connsiteY8" fmla="*/ 481012 h 1247775"/>
                <a:gd name="connsiteX9" fmla="*/ 623888 w 883444"/>
                <a:gd name="connsiteY9" fmla="*/ 185737 h 1247775"/>
                <a:gd name="connsiteX10" fmla="*/ 533400 w 883444"/>
                <a:gd name="connsiteY10" fmla="*/ 161925 h 1247775"/>
                <a:gd name="connsiteX11" fmla="*/ 719138 w 883444"/>
                <a:gd name="connsiteY11" fmla="*/ 690562 h 1247775"/>
                <a:gd name="connsiteX12" fmla="*/ 509588 w 883444"/>
                <a:gd name="connsiteY12" fmla="*/ 1195387 h 1247775"/>
                <a:gd name="connsiteX13" fmla="*/ 188119 w 883444"/>
                <a:gd name="connsiteY13" fmla="*/ 459581 h 1247775"/>
                <a:gd name="connsiteX14" fmla="*/ 123825 w 883444"/>
                <a:gd name="connsiteY14" fmla="*/ 704850 h 1247775"/>
                <a:gd name="connsiteX15" fmla="*/ 309562 w 883444"/>
                <a:gd name="connsiteY15" fmla="*/ 1193006 h 1247775"/>
                <a:gd name="connsiteX16" fmla="*/ 200025 w 883444"/>
                <a:gd name="connsiteY16" fmla="*/ 1247775 h 1247775"/>
                <a:gd name="connsiteX17" fmla="*/ 0 w 883444"/>
                <a:gd name="connsiteY17" fmla="*/ 661987 h 1247775"/>
                <a:gd name="connsiteX18" fmla="*/ 85725 w 883444"/>
                <a:gd name="connsiteY18" fmla="*/ 352425 h 1247775"/>
                <a:gd name="connsiteX0" fmla="*/ 85725 w 883444"/>
                <a:gd name="connsiteY0" fmla="*/ 352425 h 1247775"/>
                <a:gd name="connsiteX1" fmla="*/ 271463 w 883444"/>
                <a:gd name="connsiteY1" fmla="*/ 71437 h 1247775"/>
                <a:gd name="connsiteX2" fmla="*/ 323850 w 883444"/>
                <a:gd name="connsiteY2" fmla="*/ 0 h 1247775"/>
                <a:gd name="connsiteX3" fmla="*/ 502444 w 883444"/>
                <a:gd name="connsiteY3" fmla="*/ 7144 h 1247775"/>
                <a:gd name="connsiteX4" fmla="*/ 738188 w 883444"/>
                <a:gd name="connsiteY4" fmla="*/ 90487 h 1247775"/>
                <a:gd name="connsiteX5" fmla="*/ 881063 w 883444"/>
                <a:gd name="connsiteY5" fmla="*/ 461962 h 1247775"/>
                <a:gd name="connsiteX6" fmla="*/ 883444 w 883444"/>
                <a:gd name="connsiteY6" fmla="*/ 852487 h 1247775"/>
                <a:gd name="connsiteX7" fmla="*/ 766763 w 883444"/>
                <a:gd name="connsiteY7" fmla="*/ 838200 h 1247775"/>
                <a:gd name="connsiteX8" fmla="*/ 776288 w 883444"/>
                <a:gd name="connsiteY8" fmla="*/ 481012 h 1247775"/>
                <a:gd name="connsiteX9" fmla="*/ 623888 w 883444"/>
                <a:gd name="connsiteY9" fmla="*/ 185737 h 1247775"/>
                <a:gd name="connsiteX10" fmla="*/ 533400 w 883444"/>
                <a:gd name="connsiteY10" fmla="*/ 161925 h 1247775"/>
                <a:gd name="connsiteX11" fmla="*/ 740570 w 883444"/>
                <a:gd name="connsiteY11" fmla="*/ 783430 h 1247775"/>
                <a:gd name="connsiteX12" fmla="*/ 509588 w 883444"/>
                <a:gd name="connsiteY12" fmla="*/ 1195387 h 1247775"/>
                <a:gd name="connsiteX13" fmla="*/ 188119 w 883444"/>
                <a:gd name="connsiteY13" fmla="*/ 459581 h 1247775"/>
                <a:gd name="connsiteX14" fmla="*/ 123825 w 883444"/>
                <a:gd name="connsiteY14" fmla="*/ 704850 h 1247775"/>
                <a:gd name="connsiteX15" fmla="*/ 309562 w 883444"/>
                <a:gd name="connsiteY15" fmla="*/ 1193006 h 1247775"/>
                <a:gd name="connsiteX16" fmla="*/ 200025 w 883444"/>
                <a:gd name="connsiteY16" fmla="*/ 1247775 h 1247775"/>
                <a:gd name="connsiteX17" fmla="*/ 0 w 883444"/>
                <a:gd name="connsiteY17" fmla="*/ 661987 h 1247775"/>
                <a:gd name="connsiteX18" fmla="*/ 85725 w 883444"/>
                <a:gd name="connsiteY18" fmla="*/ 352425 h 1247775"/>
                <a:gd name="connsiteX0" fmla="*/ 85725 w 883444"/>
                <a:gd name="connsiteY0" fmla="*/ 352425 h 1247775"/>
                <a:gd name="connsiteX1" fmla="*/ 271463 w 883444"/>
                <a:gd name="connsiteY1" fmla="*/ 71437 h 1247775"/>
                <a:gd name="connsiteX2" fmla="*/ 323850 w 883444"/>
                <a:gd name="connsiteY2" fmla="*/ 0 h 1247775"/>
                <a:gd name="connsiteX3" fmla="*/ 502444 w 883444"/>
                <a:gd name="connsiteY3" fmla="*/ 7144 h 1247775"/>
                <a:gd name="connsiteX4" fmla="*/ 738188 w 883444"/>
                <a:gd name="connsiteY4" fmla="*/ 90487 h 1247775"/>
                <a:gd name="connsiteX5" fmla="*/ 881063 w 883444"/>
                <a:gd name="connsiteY5" fmla="*/ 461962 h 1247775"/>
                <a:gd name="connsiteX6" fmla="*/ 883444 w 883444"/>
                <a:gd name="connsiteY6" fmla="*/ 852487 h 1247775"/>
                <a:gd name="connsiteX7" fmla="*/ 766763 w 883444"/>
                <a:gd name="connsiteY7" fmla="*/ 838200 h 1247775"/>
                <a:gd name="connsiteX8" fmla="*/ 776288 w 883444"/>
                <a:gd name="connsiteY8" fmla="*/ 481012 h 1247775"/>
                <a:gd name="connsiteX9" fmla="*/ 623888 w 883444"/>
                <a:gd name="connsiteY9" fmla="*/ 185737 h 1247775"/>
                <a:gd name="connsiteX10" fmla="*/ 533400 w 883444"/>
                <a:gd name="connsiteY10" fmla="*/ 161925 h 1247775"/>
                <a:gd name="connsiteX11" fmla="*/ 740570 w 883444"/>
                <a:gd name="connsiteY11" fmla="*/ 783430 h 1247775"/>
                <a:gd name="connsiteX12" fmla="*/ 502444 w 883444"/>
                <a:gd name="connsiteY12" fmla="*/ 1073943 h 1247775"/>
                <a:gd name="connsiteX13" fmla="*/ 188119 w 883444"/>
                <a:gd name="connsiteY13" fmla="*/ 459581 h 1247775"/>
                <a:gd name="connsiteX14" fmla="*/ 123825 w 883444"/>
                <a:gd name="connsiteY14" fmla="*/ 704850 h 1247775"/>
                <a:gd name="connsiteX15" fmla="*/ 309562 w 883444"/>
                <a:gd name="connsiteY15" fmla="*/ 1193006 h 1247775"/>
                <a:gd name="connsiteX16" fmla="*/ 200025 w 883444"/>
                <a:gd name="connsiteY16" fmla="*/ 1247775 h 1247775"/>
                <a:gd name="connsiteX17" fmla="*/ 0 w 883444"/>
                <a:gd name="connsiteY17" fmla="*/ 661987 h 1247775"/>
                <a:gd name="connsiteX18" fmla="*/ 85725 w 883444"/>
                <a:gd name="connsiteY18" fmla="*/ 352425 h 1247775"/>
                <a:gd name="connsiteX0" fmla="*/ 85725 w 909637"/>
                <a:gd name="connsiteY0" fmla="*/ 352425 h 1247775"/>
                <a:gd name="connsiteX1" fmla="*/ 271463 w 909637"/>
                <a:gd name="connsiteY1" fmla="*/ 71437 h 1247775"/>
                <a:gd name="connsiteX2" fmla="*/ 323850 w 909637"/>
                <a:gd name="connsiteY2" fmla="*/ 0 h 1247775"/>
                <a:gd name="connsiteX3" fmla="*/ 502444 w 909637"/>
                <a:gd name="connsiteY3" fmla="*/ 7144 h 1247775"/>
                <a:gd name="connsiteX4" fmla="*/ 738188 w 909637"/>
                <a:gd name="connsiteY4" fmla="*/ 90487 h 1247775"/>
                <a:gd name="connsiteX5" fmla="*/ 881063 w 909637"/>
                <a:gd name="connsiteY5" fmla="*/ 461962 h 1247775"/>
                <a:gd name="connsiteX6" fmla="*/ 909637 w 909637"/>
                <a:gd name="connsiteY6" fmla="*/ 723900 h 1247775"/>
                <a:gd name="connsiteX7" fmla="*/ 766763 w 909637"/>
                <a:gd name="connsiteY7" fmla="*/ 838200 h 1247775"/>
                <a:gd name="connsiteX8" fmla="*/ 776288 w 909637"/>
                <a:gd name="connsiteY8" fmla="*/ 481012 h 1247775"/>
                <a:gd name="connsiteX9" fmla="*/ 623888 w 909637"/>
                <a:gd name="connsiteY9" fmla="*/ 185737 h 1247775"/>
                <a:gd name="connsiteX10" fmla="*/ 533400 w 909637"/>
                <a:gd name="connsiteY10" fmla="*/ 161925 h 1247775"/>
                <a:gd name="connsiteX11" fmla="*/ 740570 w 909637"/>
                <a:gd name="connsiteY11" fmla="*/ 783430 h 1247775"/>
                <a:gd name="connsiteX12" fmla="*/ 502444 w 909637"/>
                <a:gd name="connsiteY12" fmla="*/ 1073943 h 1247775"/>
                <a:gd name="connsiteX13" fmla="*/ 188119 w 909637"/>
                <a:gd name="connsiteY13" fmla="*/ 459581 h 1247775"/>
                <a:gd name="connsiteX14" fmla="*/ 123825 w 909637"/>
                <a:gd name="connsiteY14" fmla="*/ 704850 h 1247775"/>
                <a:gd name="connsiteX15" fmla="*/ 309562 w 909637"/>
                <a:gd name="connsiteY15" fmla="*/ 1193006 h 1247775"/>
                <a:gd name="connsiteX16" fmla="*/ 200025 w 909637"/>
                <a:gd name="connsiteY16" fmla="*/ 1247775 h 1247775"/>
                <a:gd name="connsiteX17" fmla="*/ 0 w 909637"/>
                <a:gd name="connsiteY17" fmla="*/ 661987 h 1247775"/>
                <a:gd name="connsiteX18" fmla="*/ 85725 w 909637"/>
                <a:gd name="connsiteY18" fmla="*/ 352425 h 1247775"/>
                <a:gd name="connsiteX0" fmla="*/ 85725 w 909637"/>
                <a:gd name="connsiteY0" fmla="*/ 352425 h 1247775"/>
                <a:gd name="connsiteX1" fmla="*/ 271463 w 909637"/>
                <a:gd name="connsiteY1" fmla="*/ 71437 h 1247775"/>
                <a:gd name="connsiteX2" fmla="*/ 323850 w 909637"/>
                <a:gd name="connsiteY2" fmla="*/ 0 h 1247775"/>
                <a:gd name="connsiteX3" fmla="*/ 502444 w 909637"/>
                <a:gd name="connsiteY3" fmla="*/ 7144 h 1247775"/>
                <a:gd name="connsiteX4" fmla="*/ 738188 w 909637"/>
                <a:gd name="connsiteY4" fmla="*/ 90487 h 1247775"/>
                <a:gd name="connsiteX5" fmla="*/ 881063 w 909637"/>
                <a:gd name="connsiteY5" fmla="*/ 461962 h 1247775"/>
                <a:gd name="connsiteX6" fmla="*/ 909637 w 909637"/>
                <a:gd name="connsiteY6" fmla="*/ 723900 h 1247775"/>
                <a:gd name="connsiteX7" fmla="*/ 821532 w 909637"/>
                <a:gd name="connsiteY7" fmla="*/ 738188 h 1247775"/>
                <a:gd name="connsiteX8" fmla="*/ 776288 w 909637"/>
                <a:gd name="connsiteY8" fmla="*/ 481012 h 1247775"/>
                <a:gd name="connsiteX9" fmla="*/ 623888 w 909637"/>
                <a:gd name="connsiteY9" fmla="*/ 185737 h 1247775"/>
                <a:gd name="connsiteX10" fmla="*/ 533400 w 909637"/>
                <a:gd name="connsiteY10" fmla="*/ 161925 h 1247775"/>
                <a:gd name="connsiteX11" fmla="*/ 740570 w 909637"/>
                <a:gd name="connsiteY11" fmla="*/ 783430 h 1247775"/>
                <a:gd name="connsiteX12" fmla="*/ 502444 w 909637"/>
                <a:gd name="connsiteY12" fmla="*/ 1073943 h 1247775"/>
                <a:gd name="connsiteX13" fmla="*/ 188119 w 909637"/>
                <a:gd name="connsiteY13" fmla="*/ 459581 h 1247775"/>
                <a:gd name="connsiteX14" fmla="*/ 123825 w 909637"/>
                <a:gd name="connsiteY14" fmla="*/ 704850 h 1247775"/>
                <a:gd name="connsiteX15" fmla="*/ 309562 w 909637"/>
                <a:gd name="connsiteY15" fmla="*/ 1193006 h 1247775"/>
                <a:gd name="connsiteX16" fmla="*/ 200025 w 909637"/>
                <a:gd name="connsiteY16" fmla="*/ 1247775 h 1247775"/>
                <a:gd name="connsiteX17" fmla="*/ 0 w 909637"/>
                <a:gd name="connsiteY17" fmla="*/ 661987 h 1247775"/>
                <a:gd name="connsiteX18" fmla="*/ 85725 w 909637"/>
                <a:gd name="connsiteY18" fmla="*/ 352425 h 124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09637" h="1247775">
                  <a:moveTo>
                    <a:pt x="85725" y="352425"/>
                  </a:moveTo>
                  <a:lnTo>
                    <a:pt x="271463" y="71437"/>
                  </a:lnTo>
                  <a:lnTo>
                    <a:pt x="323850" y="0"/>
                  </a:lnTo>
                  <a:lnTo>
                    <a:pt x="502444" y="7144"/>
                  </a:lnTo>
                  <a:lnTo>
                    <a:pt x="738188" y="90487"/>
                  </a:lnTo>
                  <a:lnTo>
                    <a:pt x="881063" y="461962"/>
                  </a:lnTo>
                  <a:cubicBezTo>
                    <a:pt x="881857" y="592137"/>
                    <a:pt x="908843" y="593725"/>
                    <a:pt x="909637" y="723900"/>
                  </a:cubicBezTo>
                  <a:lnTo>
                    <a:pt x="821532" y="738188"/>
                  </a:lnTo>
                  <a:lnTo>
                    <a:pt x="776288" y="481012"/>
                  </a:lnTo>
                  <a:lnTo>
                    <a:pt x="623888" y="185737"/>
                  </a:lnTo>
                  <a:lnTo>
                    <a:pt x="533400" y="161925"/>
                  </a:lnTo>
                  <a:lnTo>
                    <a:pt x="740570" y="783430"/>
                  </a:lnTo>
                  <a:lnTo>
                    <a:pt x="502444" y="1073943"/>
                  </a:lnTo>
                  <a:lnTo>
                    <a:pt x="188119" y="459581"/>
                  </a:lnTo>
                  <a:lnTo>
                    <a:pt x="123825" y="704850"/>
                  </a:lnTo>
                  <a:lnTo>
                    <a:pt x="309562" y="1193006"/>
                  </a:lnTo>
                  <a:lnTo>
                    <a:pt x="200025" y="1247775"/>
                  </a:lnTo>
                  <a:lnTo>
                    <a:pt x="0" y="661987"/>
                  </a:lnTo>
                  <a:lnTo>
                    <a:pt x="85725" y="352425"/>
                  </a:lnTo>
                  <a:close/>
                </a:path>
              </a:pathLst>
            </a:custGeom>
            <a:solidFill>
              <a:srgbClr val="7C252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0" name="Freeform 69"/>
            <p:cNvSpPr/>
            <p:nvPr/>
          </p:nvSpPr>
          <p:spPr bwMode="gray">
            <a:xfrm>
              <a:off x="2717007" y="3883818"/>
              <a:ext cx="197644" cy="252413"/>
            </a:xfrm>
            <a:custGeom>
              <a:avLst/>
              <a:gdLst>
                <a:gd name="connsiteX0" fmla="*/ 0 w 197644"/>
                <a:gd name="connsiteY0" fmla="*/ 128587 h 252412"/>
                <a:gd name="connsiteX1" fmla="*/ 197644 w 197644"/>
                <a:gd name="connsiteY1" fmla="*/ 252412 h 252412"/>
                <a:gd name="connsiteX2" fmla="*/ 85725 w 197644"/>
                <a:gd name="connsiteY2" fmla="*/ 0 h 252412"/>
                <a:gd name="connsiteX3" fmla="*/ 0 w 197644"/>
                <a:gd name="connsiteY3" fmla="*/ 128587 h 252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7644" h="252412">
                  <a:moveTo>
                    <a:pt x="0" y="128587"/>
                  </a:moveTo>
                  <a:lnTo>
                    <a:pt x="197644" y="252412"/>
                  </a:lnTo>
                  <a:lnTo>
                    <a:pt x="85725" y="0"/>
                  </a:lnTo>
                  <a:lnTo>
                    <a:pt x="0" y="128587"/>
                  </a:lnTo>
                  <a:close/>
                </a:path>
              </a:pathLst>
            </a:cu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kern="0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75" name="Group 74"/>
          <p:cNvGrpSpPr/>
          <p:nvPr/>
        </p:nvGrpSpPr>
        <p:grpSpPr bwMode="gray">
          <a:xfrm>
            <a:off x="228600" y="4764275"/>
            <a:ext cx="720357" cy="569725"/>
            <a:chOff x="147238" y="4835734"/>
            <a:chExt cx="604024" cy="477718"/>
          </a:xfrm>
        </p:grpSpPr>
        <p:sp>
          <p:nvSpPr>
            <p:cNvPr id="76" name="Rectangle 75"/>
            <p:cNvSpPr/>
            <p:nvPr/>
          </p:nvSpPr>
          <p:spPr bwMode="gray">
            <a:xfrm>
              <a:off x="541116" y="4983532"/>
              <a:ext cx="102058" cy="182408"/>
            </a:xfrm>
            <a:prstGeom prst="rect">
              <a:avLst/>
            </a:prstGeom>
            <a:solidFill>
              <a:srgbClr val="7C252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7" name="Freeform 95727"/>
            <p:cNvSpPr>
              <a:spLocks/>
            </p:cNvSpPr>
            <p:nvPr/>
          </p:nvSpPr>
          <p:spPr bwMode="gray">
            <a:xfrm>
              <a:off x="499330" y="4936887"/>
              <a:ext cx="182225" cy="100896"/>
            </a:xfrm>
            <a:custGeom>
              <a:avLst/>
              <a:gdLst/>
              <a:ahLst/>
              <a:cxnLst/>
              <a:rect l="l" t="t" r="r" b="b"/>
              <a:pathLst>
                <a:path w="1023702" h="566814">
                  <a:moveTo>
                    <a:pt x="313355" y="0"/>
                  </a:moveTo>
                  <a:lnTo>
                    <a:pt x="731231" y="0"/>
                  </a:lnTo>
                  <a:cubicBezTo>
                    <a:pt x="731231" y="0"/>
                    <a:pt x="1002819" y="0"/>
                    <a:pt x="1023702" y="253010"/>
                  </a:cubicBezTo>
                  <a:lnTo>
                    <a:pt x="1023702" y="566814"/>
                  </a:lnTo>
                  <a:lnTo>
                    <a:pt x="856532" y="566814"/>
                  </a:lnTo>
                  <a:lnTo>
                    <a:pt x="856532" y="298915"/>
                  </a:lnTo>
                  <a:lnTo>
                    <a:pt x="793881" y="298915"/>
                  </a:lnTo>
                  <a:lnTo>
                    <a:pt x="793881" y="566814"/>
                  </a:lnTo>
                  <a:lnTo>
                    <a:pt x="250705" y="566814"/>
                  </a:lnTo>
                  <a:lnTo>
                    <a:pt x="250705" y="298915"/>
                  </a:lnTo>
                  <a:lnTo>
                    <a:pt x="188054" y="298915"/>
                  </a:lnTo>
                  <a:lnTo>
                    <a:pt x="188054" y="566814"/>
                  </a:lnTo>
                  <a:lnTo>
                    <a:pt x="0" y="566814"/>
                  </a:lnTo>
                  <a:lnTo>
                    <a:pt x="0" y="253010"/>
                  </a:lnTo>
                  <a:cubicBezTo>
                    <a:pt x="0" y="253010"/>
                    <a:pt x="0" y="0"/>
                    <a:pt x="313355" y="0"/>
                  </a:cubicBezTo>
                  <a:close/>
                </a:path>
              </a:pathLst>
            </a:custGeom>
            <a:solidFill>
              <a:srgbClr val="7C25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s-CR" kern="0" dirty="0">
                <a:solidFill>
                  <a:prstClr val="black"/>
                </a:solidFill>
              </a:endParaRPr>
            </a:p>
          </p:txBody>
        </p:sp>
        <p:sp>
          <p:nvSpPr>
            <p:cNvPr id="78" name="Freeform 7"/>
            <p:cNvSpPr>
              <a:spLocks/>
            </p:cNvSpPr>
            <p:nvPr/>
          </p:nvSpPr>
          <p:spPr bwMode="gray">
            <a:xfrm flipH="1">
              <a:off x="258442" y="4835734"/>
              <a:ext cx="84993" cy="84992"/>
            </a:xfrm>
            <a:custGeom>
              <a:avLst/>
              <a:gdLst>
                <a:gd name="T0" fmla="*/ 58 w 116"/>
                <a:gd name="T1" fmla="*/ 116 h 116"/>
                <a:gd name="T2" fmla="*/ 58 w 116"/>
                <a:gd name="T3" fmla="*/ 116 h 116"/>
                <a:gd name="T4" fmla="*/ 70 w 116"/>
                <a:gd name="T5" fmla="*/ 114 h 116"/>
                <a:gd name="T6" fmla="*/ 82 w 116"/>
                <a:gd name="T7" fmla="*/ 112 h 116"/>
                <a:gd name="T8" fmla="*/ 90 w 116"/>
                <a:gd name="T9" fmla="*/ 106 h 116"/>
                <a:gd name="T10" fmla="*/ 100 w 116"/>
                <a:gd name="T11" fmla="*/ 100 h 116"/>
                <a:gd name="T12" fmla="*/ 106 w 116"/>
                <a:gd name="T13" fmla="*/ 90 h 116"/>
                <a:gd name="T14" fmla="*/ 112 w 116"/>
                <a:gd name="T15" fmla="*/ 80 h 116"/>
                <a:gd name="T16" fmla="*/ 116 w 116"/>
                <a:gd name="T17" fmla="*/ 70 h 116"/>
                <a:gd name="T18" fmla="*/ 116 w 116"/>
                <a:gd name="T19" fmla="*/ 58 h 116"/>
                <a:gd name="T20" fmla="*/ 116 w 116"/>
                <a:gd name="T21" fmla="*/ 58 h 116"/>
                <a:gd name="T22" fmla="*/ 116 w 116"/>
                <a:gd name="T23" fmla="*/ 46 h 116"/>
                <a:gd name="T24" fmla="*/ 112 w 116"/>
                <a:gd name="T25" fmla="*/ 36 h 116"/>
                <a:gd name="T26" fmla="*/ 106 w 116"/>
                <a:gd name="T27" fmla="*/ 26 h 116"/>
                <a:gd name="T28" fmla="*/ 100 w 116"/>
                <a:gd name="T29" fmla="*/ 16 h 116"/>
                <a:gd name="T30" fmla="*/ 90 w 116"/>
                <a:gd name="T31" fmla="*/ 10 h 116"/>
                <a:gd name="T32" fmla="*/ 82 w 116"/>
                <a:gd name="T33" fmla="*/ 4 h 116"/>
                <a:gd name="T34" fmla="*/ 70 w 116"/>
                <a:gd name="T35" fmla="*/ 0 h 116"/>
                <a:gd name="T36" fmla="*/ 58 w 116"/>
                <a:gd name="T37" fmla="*/ 0 h 116"/>
                <a:gd name="T38" fmla="*/ 58 w 116"/>
                <a:gd name="T39" fmla="*/ 0 h 116"/>
                <a:gd name="T40" fmla="*/ 46 w 116"/>
                <a:gd name="T41" fmla="*/ 0 h 116"/>
                <a:gd name="T42" fmla="*/ 36 w 116"/>
                <a:gd name="T43" fmla="*/ 4 h 116"/>
                <a:gd name="T44" fmla="*/ 26 w 116"/>
                <a:gd name="T45" fmla="*/ 10 h 116"/>
                <a:gd name="T46" fmla="*/ 18 w 116"/>
                <a:gd name="T47" fmla="*/ 16 h 116"/>
                <a:gd name="T48" fmla="*/ 10 w 116"/>
                <a:gd name="T49" fmla="*/ 26 h 116"/>
                <a:gd name="T50" fmla="*/ 4 w 116"/>
                <a:gd name="T51" fmla="*/ 36 h 116"/>
                <a:gd name="T52" fmla="*/ 2 w 116"/>
                <a:gd name="T53" fmla="*/ 46 h 116"/>
                <a:gd name="T54" fmla="*/ 0 w 116"/>
                <a:gd name="T55" fmla="*/ 58 h 116"/>
                <a:gd name="T56" fmla="*/ 0 w 116"/>
                <a:gd name="T57" fmla="*/ 58 h 116"/>
                <a:gd name="T58" fmla="*/ 2 w 116"/>
                <a:gd name="T59" fmla="*/ 70 h 116"/>
                <a:gd name="T60" fmla="*/ 4 w 116"/>
                <a:gd name="T61" fmla="*/ 80 h 116"/>
                <a:gd name="T62" fmla="*/ 10 w 116"/>
                <a:gd name="T63" fmla="*/ 90 h 116"/>
                <a:gd name="T64" fmla="*/ 18 w 116"/>
                <a:gd name="T65" fmla="*/ 100 h 116"/>
                <a:gd name="T66" fmla="*/ 26 w 116"/>
                <a:gd name="T67" fmla="*/ 106 h 116"/>
                <a:gd name="T68" fmla="*/ 36 w 116"/>
                <a:gd name="T69" fmla="*/ 112 h 116"/>
                <a:gd name="T70" fmla="*/ 46 w 116"/>
                <a:gd name="T71" fmla="*/ 114 h 116"/>
                <a:gd name="T72" fmla="*/ 58 w 116"/>
                <a:gd name="T73" fmla="*/ 116 h 116"/>
                <a:gd name="T74" fmla="*/ 58 w 116"/>
                <a:gd name="T75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6" h="116">
                  <a:moveTo>
                    <a:pt x="58" y="116"/>
                  </a:moveTo>
                  <a:lnTo>
                    <a:pt x="58" y="116"/>
                  </a:lnTo>
                  <a:lnTo>
                    <a:pt x="70" y="114"/>
                  </a:lnTo>
                  <a:lnTo>
                    <a:pt x="82" y="112"/>
                  </a:lnTo>
                  <a:lnTo>
                    <a:pt x="90" y="106"/>
                  </a:lnTo>
                  <a:lnTo>
                    <a:pt x="100" y="100"/>
                  </a:lnTo>
                  <a:lnTo>
                    <a:pt x="106" y="90"/>
                  </a:lnTo>
                  <a:lnTo>
                    <a:pt x="112" y="80"/>
                  </a:lnTo>
                  <a:lnTo>
                    <a:pt x="116" y="70"/>
                  </a:lnTo>
                  <a:lnTo>
                    <a:pt x="116" y="58"/>
                  </a:lnTo>
                  <a:lnTo>
                    <a:pt x="116" y="58"/>
                  </a:lnTo>
                  <a:lnTo>
                    <a:pt x="116" y="46"/>
                  </a:lnTo>
                  <a:lnTo>
                    <a:pt x="112" y="36"/>
                  </a:lnTo>
                  <a:lnTo>
                    <a:pt x="106" y="26"/>
                  </a:lnTo>
                  <a:lnTo>
                    <a:pt x="100" y="16"/>
                  </a:lnTo>
                  <a:lnTo>
                    <a:pt x="90" y="10"/>
                  </a:lnTo>
                  <a:lnTo>
                    <a:pt x="82" y="4"/>
                  </a:lnTo>
                  <a:lnTo>
                    <a:pt x="70" y="0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46" y="0"/>
                  </a:lnTo>
                  <a:lnTo>
                    <a:pt x="36" y="4"/>
                  </a:lnTo>
                  <a:lnTo>
                    <a:pt x="26" y="10"/>
                  </a:lnTo>
                  <a:lnTo>
                    <a:pt x="18" y="16"/>
                  </a:lnTo>
                  <a:lnTo>
                    <a:pt x="10" y="26"/>
                  </a:lnTo>
                  <a:lnTo>
                    <a:pt x="4" y="36"/>
                  </a:lnTo>
                  <a:lnTo>
                    <a:pt x="2" y="4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2" y="70"/>
                  </a:lnTo>
                  <a:lnTo>
                    <a:pt x="4" y="80"/>
                  </a:lnTo>
                  <a:lnTo>
                    <a:pt x="10" y="90"/>
                  </a:lnTo>
                  <a:lnTo>
                    <a:pt x="18" y="100"/>
                  </a:lnTo>
                  <a:lnTo>
                    <a:pt x="26" y="106"/>
                  </a:lnTo>
                  <a:lnTo>
                    <a:pt x="36" y="112"/>
                  </a:lnTo>
                  <a:lnTo>
                    <a:pt x="46" y="114"/>
                  </a:lnTo>
                  <a:lnTo>
                    <a:pt x="58" y="116"/>
                  </a:lnTo>
                  <a:lnTo>
                    <a:pt x="58" y="116"/>
                  </a:lnTo>
                  <a:close/>
                </a:path>
              </a:pathLst>
            </a:custGeom>
            <a:solidFill>
              <a:srgbClr val="7C25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79" name="Freeform 8"/>
            <p:cNvSpPr>
              <a:spLocks/>
            </p:cNvSpPr>
            <p:nvPr/>
          </p:nvSpPr>
          <p:spPr bwMode="gray">
            <a:xfrm flipH="1">
              <a:off x="182241" y="4916302"/>
              <a:ext cx="308254" cy="397150"/>
            </a:xfrm>
            <a:custGeom>
              <a:avLst/>
              <a:gdLst>
                <a:gd name="T0" fmla="*/ 316 w 458"/>
                <a:gd name="T1" fmla="*/ 344 h 564"/>
                <a:gd name="T2" fmla="*/ 404 w 458"/>
                <a:gd name="T3" fmla="*/ 354 h 564"/>
                <a:gd name="T4" fmla="*/ 412 w 458"/>
                <a:gd name="T5" fmla="*/ 354 h 564"/>
                <a:gd name="T6" fmla="*/ 420 w 458"/>
                <a:gd name="T7" fmla="*/ 352 h 564"/>
                <a:gd name="T8" fmla="*/ 434 w 458"/>
                <a:gd name="T9" fmla="*/ 346 h 564"/>
                <a:gd name="T10" fmla="*/ 434 w 458"/>
                <a:gd name="T11" fmla="*/ 346 h 564"/>
                <a:gd name="T12" fmla="*/ 440 w 458"/>
                <a:gd name="T13" fmla="*/ 342 h 564"/>
                <a:gd name="T14" fmla="*/ 450 w 458"/>
                <a:gd name="T15" fmla="*/ 328 h 564"/>
                <a:gd name="T16" fmla="*/ 456 w 458"/>
                <a:gd name="T17" fmla="*/ 310 h 564"/>
                <a:gd name="T18" fmla="*/ 458 w 458"/>
                <a:gd name="T19" fmla="*/ 290 h 564"/>
                <a:gd name="T20" fmla="*/ 400 w 458"/>
                <a:gd name="T21" fmla="*/ 70 h 564"/>
                <a:gd name="T22" fmla="*/ 396 w 458"/>
                <a:gd name="T23" fmla="*/ 58 h 564"/>
                <a:gd name="T24" fmla="*/ 382 w 458"/>
                <a:gd name="T25" fmla="*/ 38 h 564"/>
                <a:gd name="T26" fmla="*/ 364 w 458"/>
                <a:gd name="T27" fmla="*/ 26 h 564"/>
                <a:gd name="T28" fmla="*/ 344 w 458"/>
                <a:gd name="T29" fmla="*/ 22 h 564"/>
                <a:gd name="T30" fmla="*/ 334 w 458"/>
                <a:gd name="T31" fmla="*/ 24 h 564"/>
                <a:gd name="T32" fmla="*/ 316 w 458"/>
                <a:gd name="T33" fmla="*/ 34 h 564"/>
                <a:gd name="T34" fmla="*/ 304 w 458"/>
                <a:gd name="T35" fmla="*/ 48 h 564"/>
                <a:gd name="T36" fmla="*/ 76 w 458"/>
                <a:gd name="T37" fmla="*/ 74 h 564"/>
                <a:gd name="T38" fmla="*/ 8 w 458"/>
                <a:gd name="T39" fmla="*/ 12 h 564"/>
                <a:gd name="T40" fmla="*/ 0 w 458"/>
                <a:gd name="T41" fmla="*/ 14 h 564"/>
                <a:gd name="T42" fmla="*/ 50 w 458"/>
                <a:gd name="T43" fmla="*/ 86 h 564"/>
                <a:gd name="T44" fmla="*/ 48 w 458"/>
                <a:gd name="T45" fmla="*/ 96 h 564"/>
                <a:gd name="T46" fmla="*/ 50 w 458"/>
                <a:gd name="T47" fmla="*/ 112 h 564"/>
                <a:gd name="T48" fmla="*/ 60 w 458"/>
                <a:gd name="T49" fmla="*/ 120 h 564"/>
                <a:gd name="T50" fmla="*/ 96 w 458"/>
                <a:gd name="T51" fmla="*/ 150 h 564"/>
                <a:gd name="T52" fmla="*/ 84 w 458"/>
                <a:gd name="T53" fmla="*/ 120 h 564"/>
                <a:gd name="T54" fmla="*/ 98 w 458"/>
                <a:gd name="T55" fmla="*/ 142 h 564"/>
                <a:gd name="T56" fmla="*/ 110 w 458"/>
                <a:gd name="T57" fmla="*/ 122 h 564"/>
                <a:gd name="T58" fmla="*/ 212 w 458"/>
                <a:gd name="T59" fmla="*/ 128 h 564"/>
                <a:gd name="T60" fmla="*/ 216 w 458"/>
                <a:gd name="T61" fmla="*/ 128 h 564"/>
                <a:gd name="T62" fmla="*/ 220 w 458"/>
                <a:gd name="T63" fmla="*/ 128 h 564"/>
                <a:gd name="T64" fmla="*/ 300 w 458"/>
                <a:gd name="T65" fmla="*/ 98 h 564"/>
                <a:gd name="T66" fmla="*/ 264 w 458"/>
                <a:gd name="T67" fmla="*/ 262 h 564"/>
                <a:gd name="T68" fmla="*/ 172 w 458"/>
                <a:gd name="T69" fmla="*/ 256 h 564"/>
                <a:gd name="T70" fmla="*/ 156 w 458"/>
                <a:gd name="T71" fmla="*/ 262 h 564"/>
                <a:gd name="T72" fmla="*/ 144 w 458"/>
                <a:gd name="T73" fmla="*/ 276 h 564"/>
                <a:gd name="T74" fmla="*/ 142 w 458"/>
                <a:gd name="T75" fmla="*/ 532 h 564"/>
                <a:gd name="T76" fmla="*/ 144 w 458"/>
                <a:gd name="T77" fmla="*/ 538 h 564"/>
                <a:gd name="T78" fmla="*/ 148 w 458"/>
                <a:gd name="T79" fmla="*/ 550 h 564"/>
                <a:gd name="T80" fmla="*/ 158 w 458"/>
                <a:gd name="T81" fmla="*/ 558 h 564"/>
                <a:gd name="T82" fmla="*/ 168 w 458"/>
                <a:gd name="T83" fmla="*/ 564 h 564"/>
                <a:gd name="T84" fmla="*/ 176 w 458"/>
                <a:gd name="T85" fmla="*/ 564 h 564"/>
                <a:gd name="T86" fmla="*/ 188 w 458"/>
                <a:gd name="T87" fmla="*/ 562 h 564"/>
                <a:gd name="T88" fmla="*/ 200 w 458"/>
                <a:gd name="T89" fmla="*/ 554 h 564"/>
                <a:gd name="T90" fmla="*/ 206 w 458"/>
                <a:gd name="T91" fmla="*/ 544 h 564"/>
                <a:gd name="T92" fmla="*/ 208 w 458"/>
                <a:gd name="T93" fmla="*/ 532 h 564"/>
                <a:gd name="T94" fmla="*/ 316 w 458"/>
                <a:gd name="T95" fmla="*/ 344 h 564"/>
                <a:gd name="connsiteX0" fmla="*/ 6900 w 10000"/>
                <a:gd name="connsiteY0" fmla="*/ 5990 h 9891"/>
                <a:gd name="connsiteX1" fmla="*/ 6900 w 10000"/>
                <a:gd name="connsiteY1" fmla="*/ 5990 h 9891"/>
                <a:gd name="connsiteX2" fmla="*/ 8079 w 10000"/>
                <a:gd name="connsiteY2" fmla="*/ 6097 h 9891"/>
                <a:gd name="connsiteX3" fmla="*/ 8821 w 10000"/>
                <a:gd name="connsiteY3" fmla="*/ 6168 h 9891"/>
                <a:gd name="connsiteX4" fmla="*/ 8821 w 10000"/>
                <a:gd name="connsiteY4" fmla="*/ 6168 h 9891"/>
                <a:gd name="connsiteX5" fmla="*/ 8996 w 10000"/>
                <a:gd name="connsiteY5" fmla="*/ 6168 h 9891"/>
                <a:gd name="connsiteX6" fmla="*/ 9170 w 10000"/>
                <a:gd name="connsiteY6" fmla="*/ 6132 h 9891"/>
                <a:gd name="connsiteX7" fmla="*/ 9170 w 10000"/>
                <a:gd name="connsiteY7" fmla="*/ 6132 h 9891"/>
                <a:gd name="connsiteX8" fmla="*/ 9476 w 10000"/>
                <a:gd name="connsiteY8" fmla="*/ 6026 h 9891"/>
                <a:gd name="connsiteX9" fmla="*/ 9476 w 10000"/>
                <a:gd name="connsiteY9" fmla="*/ 6026 h 9891"/>
                <a:gd name="connsiteX10" fmla="*/ 9476 w 10000"/>
                <a:gd name="connsiteY10" fmla="*/ 6026 h 9891"/>
                <a:gd name="connsiteX11" fmla="*/ 9476 w 10000"/>
                <a:gd name="connsiteY11" fmla="*/ 6026 h 9891"/>
                <a:gd name="connsiteX12" fmla="*/ 9476 w 10000"/>
                <a:gd name="connsiteY12" fmla="*/ 6026 h 9891"/>
                <a:gd name="connsiteX13" fmla="*/ 9607 w 10000"/>
                <a:gd name="connsiteY13" fmla="*/ 5955 h 9891"/>
                <a:gd name="connsiteX14" fmla="*/ 9738 w 10000"/>
                <a:gd name="connsiteY14" fmla="*/ 5813 h 9891"/>
                <a:gd name="connsiteX15" fmla="*/ 9825 w 10000"/>
                <a:gd name="connsiteY15" fmla="*/ 5707 h 9891"/>
                <a:gd name="connsiteX16" fmla="*/ 9913 w 10000"/>
                <a:gd name="connsiteY16" fmla="*/ 5529 h 9891"/>
                <a:gd name="connsiteX17" fmla="*/ 9956 w 10000"/>
                <a:gd name="connsiteY17" fmla="*/ 5387 h 9891"/>
                <a:gd name="connsiteX18" fmla="*/ 10000 w 10000"/>
                <a:gd name="connsiteY18" fmla="*/ 5210 h 9891"/>
                <a:gd name="connsiteX19" fmla="*/ 10000 w 10000"/>
                <a:gd name="connsiteY19" fmla="*/ 5033 h 9891"/>
                <a:gd name="connsiteX20" fmla="*/ 9956 w 10000"/>
                <a:gd name="connsiteY20" fmla="*/ 4856 h 9891"/>
                <a:gd name="connsiteX21" fmla="*/ 8734 w 10000"/>
                <a:gd name="connsiteY21" fmla="*/ 1132 h 9891"/>
                <a:gd name="connsiteX22" fmla="*/ 8734 w 10000"/>
                <a:gd name="connsiteY22" fmla="*/ 1132 h 9891"/>
                <a:gd name="connsiteX23" fmla="*/ 8646 w 10000"/>
                <a:gd name="connsiteY23" fmla="*/ 919 h 9891"/>
                <a:gd name="connsiteX24" fmla="*/ 8515 w 10000"/>
                <a:gd name="connsiteY24" fmla="*/ 742 h 9891"/>
                <a:gd name="connsiteX25" fmla="*/ 8341 w 10000"/>
                <a:gd name="connsiteY25" fmla="*/ 565 h 9891"/>
                <a:gd name="connsiteX26" fmla="*/ 8166 w 10000"/>
                <a:gd name="connsiteY26" fmla="*/ 458 h 9891"/>
                <a:gd name="connsiteX27" fmla="*/ 7948 w 10000"/>
                <a:gd name="connsiteY27" fmla="*/ 352 h 9891"/>
                <a:gd name="connsiteX28" fmla="*/ 7729 w 10000"/>
                <a:gd name="connsiteY28" fmla="*/ 317 h 9891"/>
                <a:gd name="connsiteX29" fmla="*/ 7511 w 10000"/>
                <a:gd name="connsiteY29" fmla="*/ 281 h 9891"/>
                <a:gd name="connsiteX30" fmla="*/ 7293 w 10000"/>
                <a:gd name="connsiteY30" fmla="*/ 317 h 9891"/>
                <a:gd name="connsiteX31" fmla="*/ 7293 w 10000"/>
                <a:gd name="connsiteY31" fmla="*/ 317 h 9891"/>
                <a:gd name="connsiteX32" fmla="*/ 7074 w 10000"/>
                <a:gd name="connsiteY32" fmla="*/ 387 h 9891"/>
                <a:gd name="connsiteX33" fmla="*/ 6900 w 10000"/>
                <a:gd name="connsiteY33" fmla="*/ 494 h 9891"/>
                <a:gd name="connsiteX34" fmla="*/ 6769 w 10000"/>
                <a:gd name="connsiteY34" fmla="*/ 600 h 9891"/>
                <a:gd name="connsiteX35" fmla="*/ 6638 w 10000"/>
                <a:gd name="connsiteY35" fmla="*/ 742 h 9891"/>
                <a:gd name="connsiteX36" fmla="*/ 4541 w 10000"/>
                <a:gd name="connsiteY36" fmla="*/ 1345 h 9891"/>
                <a:gd name="connsiteX37" fmla="*/ 1659 w 10000"/>
                <a:gd name="connsiteY37" fmla="*/ 1203 h 9891"/>
                <a:gd name="connsiteX38" fmla="*/ 204 w 10000"/>
                <a:gd name="connsiteY38" fmla="*/ 0 h 9891"/>
                <a:gd name="connsiteX39" fmla="*/ 175 w 10000"/>
                <a:gd name="connsiteY39" fmla="*/ 104 h 9891"/>
                <a:gd name="connsiteX40" fmla="*/ 131 w 10000"/>
                <a:gd name="connsiteY40" fmla="*/ 68 h 9891"/>
                <a:gd name="connsiteX41" fmla="*/ 0 w 10000"/>
                <a:gd name="connsiteY41" fmla="*/ 139 h 9891"/>
                <a:gd name="connsiteX42" fmla="*/ 1092 w 10000"/>
                <a:gd name="connsiteY42" fmla="*/ 1416 h 9891"/>
                <a:gd name="connsiteX43" fmla="*/ 1092 w 10000"/>
                <a:gd name="connsiteY43" fmla="*/ 1416 h 9891"/>
                <a:gd name="connsiteX44" fmla="*/ 1048 w 10000"/>
                <a:gd name="connsiteY44" fmla="*/ 1593 h 9891"/>
                <a:gd name="connsiteX45" fmla="*/ 1048 w 10000"/>
                <a:gd name="connsiteY45" fmla="*/ 1593 h 9891"/>
                <a:gd name="connsiteX46" fmla="*/ 1048 w 10000"/>
                <a:gd name="connsiteY46" fmla="*/ 1735 h 9891"/>
                <a:gd name="connsiteX47" fmla="*/ 1092 w 10000"/>
                <a:gd name="connsiteY47" fmla="*/ 1877 h 9891"/>
                <a:gd name="connsiteX48" fmla="*/ 1223 w 10000"/>
                <a:gd name="connsiteY48" fmla="*/ 1983 h 9891"/>
                <a:gd name="connsiteX49" fmla="*/ 1310 w 10000"/>
                <a:gd name="connsiteY49" fmla="*/ 2019 h 9891"/>
                <a:gd name="connsiteX50" fmla="*/ 1616 w 10000"/>
                <a:gd name="connsiteY50" fmla="*/ 2019 h 9891"/>
                <a:gd name="connsiteX51" fmla="*/ 2096 w 10000"/>
                <a:gd name="connsiteY51" fmla="*/ 2551 h 9891"/>
                <a:gd name="connsiteX52" fmla="*/ 2227 w 10000"/>
                <a:gd name="connsiteY52" fmla="*/ 2480 h 9891"/>
                <a:gd name="connsiteX53" fmla="*/ 1834 w 10000"/>
                <a:gd name="connsiteY53" fmla="*/ 2019 h 9891"/>
                <a:gd name="connsiteX54" fmla="*/ 1834 w 10000"/>
                <a:gd name="connsiteY54" fmla="*/ 2019 h 9891"/>
                <a:gd name="connsiteX55" fmla="*/ 2140 w 10000"/>
                <a:gd name="connsiteY55" fmla="*/ 2409 h 9891"/>
                <a:gd name="connsiteX56" fmla="*/ 2533 w 10000"/>
                <a:gd name="connsiteY56" fmla="*/ 2196 h 9891"/>
                <a:gd name="connsiteX57" fmla="*/ 2402 w 10000"/>
                <a:gd name="connsiteY57" fmla="*/ 2054 h 9891"/>
                <a:gd name="connsiteX58" fmla="*/ 4629 w 10000"/>
                <a:gd name="connsiteY58" fmla="*/ 2161 h 9891"/>
                <a:gd name="connsiteX59" fmla="*/ 4629 w 10000"/>
                <a:gd name="connsiteY59" fmla="*/ 2161 h 9891"/>
                <a:gd name="connsiteX60" fmla="*/ 4672 w 10000"/>
                <a:gd name="connsiteY60" fmla="*/ 2161 h 9891"/>
                <a:gd name="connsiteX61" fmla="*/ 4716 w 10000"/>
                <a:gd name="connsiteY61" fmla="*/ 2161 h 9891"/>
                <a:gd name="connsiteX62" fmla="*/ 4716 w 10000"/>
                <a:gd name="connsiteY62" fmla="*/ 2161 h 9891"/>
                <a:gd name="connsiteX63" fmla="*/ 4803 w 10000"/>
                <a:gd name="connsiteY63" fmla="*/ 2161 h 9891"/>
                <a:gd name="connsiteX64" fmla="*/ 4847 w 10000"/>
                <a:gd name="connsiteY64" fmla="*/ 2125 h 9891"/>
                <a:gd name="connsiteX65" fmla="*/ 6550 w 10000"/>
                <a:gd name="connsiteY65" fmla="*/ 1629 h 9891"/>
                <a:gd name="connsiteX66" fmla="*/ 7511 w 10000"/>
                <a:gd name="connsiteY66" fmla="*/ 4643 h 9891"/>
                <a:gd name="connsiteX67" fmla="*/ 5764 w 10000"/>
                <a:gd name="connsiteY67" fmla="*/ 4536 h 9891"/>
                <a:gd name="connsiteX68" fmla="*/ 3755 w 10000"/>
                <a:gd name="connsiteY68" fmla="*/ 4430 h 9891"/>
                <a:gd name="connsiteX69" fmla="*/ 3755 w 10000"/>
                <a:gd name="connsiteY69" fmla="*/ 4430 h 9891"/>
                <a:gd name="connsiteX70" fmla="*/ 3581 w 10000"/>
                <a:gd name="connsiteY70" fmla="*/ 4465 h 9891"/>
                <a:gd name="connsiteX71" fmla="*/ 3406 w 10000"/>
                <a:gd name="connsiteY71" fmla="*/ 4536 h 9891"/>
                <a:gd name="connsiteX72" fmla="*/ 3275 w 10000"/>
                <a:gd name="connsiteY72" fmla="*/ 4643 h 9891"/>
                <a:gd name="connsiteX73" fmla="*/ 3144 w 10000"/>
                <a:gd name="connsiteY73" fmla="*/ 4785 h 9891"/>
                <a:gd name="connsiteX74" fmla="*/ 3100 w 10000"/>
                <a:gd name="connsiteY74" fmla="*/ 5033 h 9891"/>
                <a:gd name="connsiteX75" fmla="*/ 3100 w 10000"/>
                <a:gd name="connsiteY75" fmla="*/ 9324 h 9891"/>
                <a:gd name="connsiteX76" fmla="*/ 3100 w 10000"/>
                <a:gd name="connsiteY76" fmla="*/ 9324 h 9891"/>
                <a:gd name="connsiteX77" fmla="*/ 3144 w 10000"/>
                <a:gd name="connsiteY77" fmla="*/ 9430 h 9891"/>
                <a:gd name="connsiteX78" fmla="*/ 3188 w 10000"/>
                <a:gd name="connsiteY78" fmla="*/ 9536 h 9891"/>
                <a:gd name="connsiteX79" fmla="*/ 3231 w 10000"/>
                <a:gd name="connsiteY79" fmla="*/ 9643 h 9891"/>
                <a:gd name="connsiteX80" fmla="*/ 3319 w 10000"/>
                <a:gd name="connsiteY80" fmla="*/ 9714 h 9891"/>
                <a:gd name="connsiteX81" fmla="*/ 3450 w 10000"/>
                <a:gd name="connsiteY81" fmla="*/ 9785 h 9891"/>
                <a:gd name="connsiteX82" fmla="*/ 3537 w 10000"/>
                <a:gd name="connsiteY82" fmla="*/ 9856 h 9891"/>
                <a:gd name="connsiteX83" fmla="*/ 3668 w 10000"/>
                <a:gd name="connsiteY83" fmla="*/ 9891 h 9891"/>
                <a:gd name="connsiteX84" fmla="*/ 3843 w 10000"/>
                <a:gd name="connsiteY84" fmla="*/ 9891 h 9891"/>
                <a:gd name="connsiteX85" fmla="*/ 3843 w 10000"/>
                <a:gd name="connsiteY85" fmla="*/ 9891 h 9891"/>
                <a:gd name="connsiteX86" fmla="*/ 3974 w 10000"/>
                <a:gd name="connsiteY86" fmla="*/ 9891 h 9891"/>
                <a:gd name="connsiteX87" fmla="*/ 4105 w 10000"/>
                <a:gd name="connsiteY87" fmla="*/ 9856 h 9891"/>
                <a:gd name="connsiteX88" fmla="*/ 4236 w 10000"/>
                <a:gd name="connsiteY88" fmla="*/ 9785 h 9891"/>
                <a:gd name="connsiteX89" fmla="*/ 4367 w 10000"/>
                <a:gd name="connsiteY89" fmla="*/ 9714 h 9891"/>
                <a:gd name="connsiteX90" fmla="*/ 4454 w 10000"/>
                <a:gd name="connsiteY90" fmla="*/ 9643 h 9891"/>
                <a:gd name="connsiteX91" fmla="*/ 4498 w 10000"/>
                <a:gd name="connsiteY91" fmla="*/ 9536 h 9891"/>
                <a:gd name="connsiteX92" fmla="*/ 4541 w 10000"/>
                <a:gd name="connsiteY92" fmla="*/ 9430 h 9891"/>
                <a:gd name="connsiteX93" fmla="*/ 4541 w 10000"/>
                <a:gd name="connsiteY93" fmla="*/ 9324 h 9891"/>
                <a:gd name="connsiteX94" fmla="*/ 4541 w 10000"/>
                <a:gd name="connsiteY94" fmla="*/ 5742 h 9891"/>
                <a:gd name="connsiteX95" fmla="*/ 6900 w 10000"/>
                <a:gd name="connsiteY95" fmla="*/ 5990 h 9891"/>
                <a:gd name="connsiteX0" fmla="*/ 6900 w 10000"/>
                <a:gd name="connsiteY0" fmla="*/ 6056 h 10000"/>
                <a:gd name="connsiteX1" fmla="*/ 6900 w 10000"/>
                <a:gd name="connsiteY1" fmla="*/ 6056 h 10000"/>
                <a:gd name="connsiteX2" fmla="*/ 8079 w 10000"/>
                <a:gd name="connsiteY2" fmla="*/ 6164 h 10000"/>
                <a:gd name="connsiteX3" fmla="*/ 8821 w 10000"/>
                <a:gd name="connsiteY3" fmla="*/ 6236 h 10000"/>
                <a:gd name="connsiteX4" fmla="*/ 8821 w 10000"/>
                <a:gd name="connsiteY4" fmla="*/ 6236 h 10000"/>
                <a:gd name="connsiteX5" fmla="*/ 8996 w 10000"/>
                <a:gd name="connsiteY5" fmla="*/ 6236 h 10000"/>
                <a:gd name="connsiteX6" fmla="*/ 9170 w 10000"/>
                <a:gd name="connsiteY6" fmla="*/ 6200 h 10000"/>
                <a:gd name="connsiteX7" fmla="*/ 9170 w 10000"/>
                <a:gd name="connsiteY7" fmla="*/ 6200 h 10000"/>
                <a:gd name="connsiteX8" fmla="*/ 9476 w 10000"/>
                <a:gd name="connsiteY8" fmla="*/ 6092 h 10000"/>
                <a:gd name="connsiteX9" fmla="*/ 9476 w 10000"/>
                <a:gd name="connsiteY9" fmla="*/ 6092 h 10000"/>
                <a:gd name="connsiteX10" fmla="*/ 9476 w 10000"/>
                <a:gd name="connsiteY10" fmla="*/ 6092 h 10000"/>
                <a:gd name="connsiteX11" fmla="*/ 9476 w 10000"/>
                <a:gd name="connsiteY11" fmla="*/ 6092 h 10000"/>
                <a:gd name="connsiteX12" fmla="*/ 9476 w 10000"/>
                <a:gd name="connsiteY12" fmla="*/ 6092 h 10000"/>
                <a:gd name="connsiteX13" fmla="*/ 9607 w 10000"/>
                <a:gd name="connsiteY13" fmla="*/ 6021 h 10000"/>
                <a:gd name="connsiteX14" fmla="*/ 9738 w 10000"/>
                <a:gd name="connsiteY14" fmla="*/ 5877 h 10000"/>
                <a:gd name="connsiteX15" fmla="*/ 9825 w 10000"/>
                <a:gd name="connsiteY15" fmla="*/ 5770 h 10000"/>
                <a:gd name="connsiteX16" fmla="*/ 9913 w 10000"/>
                <a:gd name="connsiteY16" fmla="*/ 5590 h 10000"/>
                <a:gd name="connsiteX17" fmla="*/ 9956 w 10000"/>
                <a:gd name="connsiteY17" fmla="*/ 5446 h 10000"/>
                <a:gd name="connsiteX18" fmla="*/ 10000 w 10000"/>
                <a:gd name="connsiteY18" fmla="*/ 5267 h 10000"/>
                <a:gd name="connsiteX19" fmla="*/ 10000 w 10000"/>
                <a:gd name="connsiteY19" fmla="*/ 5088 h 10000"/>
                <a:gd name="connsiteX20" fmla="*/ 9956 w 10000"/>
                <a:gd name="connsiteY20" fmla="*/ 4910 h 10000"/>
                <a:gd name="connsiteX21" fmla="*/ 8734 w 10000"/>
                <a:gd name="connsiteY21" fmla="*/ 1144 h 10000"/>
                <a:gd name="connsiteX22" fmla="*/ 8734 w 10000"/>
                <a:gd name="connsiteY22" fmla="*/ 1144 h 10000"/>
                <a:gd name="connsiteX23" fmla="*/ 8646 w 10000"/>
                <a:gd name="connsiteY23" fmla="*/ 929 h 10000"/>
                <a:gd name="connsiteX24" fmla="*/ 8515 w 10000"/>
                <a:gd name="connsiteY24" fmla="*/ 750 h 10000"/>
                <a:gd name="connsiteX25" fmla="*/ 8341 w 10000"/>
                <a:gd name="connsiteY25" fmla="*/ 571 h 10000"/>
                <a:gd name="connsiteX26" fmla="*/ 8166 w 10000"/>
                <a:gd name="connsiteY26" fmla="*/ 463 h 10000"/>
                <a:gd name="connsiteX27" fmla="*/ 7948 w 10000"/>
                <a:gd name="connsiteY27" fmla="*/ 356 h 10000"/>
                <a:gd name="connsiteX28" fmla="*/ 7729 w 10000"/>
                <a:gd name="connsiteY28" fmla="*/ 320 h 10000"/>
                <a:gd name="connsiteX29" fmla="*/ 7511 w 10000"/>
                <a:gd name="connsiteY29" fmla="*/ 284 h 10000"/>
                <a:gd name="connsiteX30" fmla="*/ 7293 w 10000"/>
                <a:gd name="connsiteY30" fmla="*/ 320 h 10000"/>
                <a:gd name="connsiteX31" fmla="*/ 7293 w 10000"/>
                <a:gd name="connsiteY31" fmla="*/ 320 h 10000"/>
                <a:gd name="connsiteX32" fmla="*/ 7074 w 10000"/>
                <a:gd name="connsiteY32" fmla="*/ 391 h 10000"/>
                <a:gd name="connsiteX33" fmla="*/ 6900 w 10000"/>
                <a:gd name="connsiteY33" fmla="*/ 499 h 10000"/>
                <a:gd name="connsiteX34" fmla="*/ 6769 w 10000"/>
                <a:gd name="connsiteY34" fmla="*/ 607 h 10000"/>
                <a:gd name="connsiteX35" fmla="*/ 6638 w 10000"/>
                <a:gd name="connsiteY35" fmla="*/ 750 h 10000"/>
                <a:gd name="connsiteX36" fmla="*/ 4541 w 10000"/>
                <a:gd name="connsiteY36" fmla="*/ 1360 h 10000"/>
                <a:gd name="connsiteX37" fmla="*/ 1086 w 10000"/>
                <a:gd name="connsiteY37" fmla="*/ 1313 h 10000"/>
                <a:gd name="connsiteX38" fmla="*/ 204 w 10000"/>
                <a:gd name="connsiteY38" fmla="*/ 0 h 10000"/>
                <a:gd name="connsiteX39" fmla="*/ 175 w 10000"/>
                <a:gd name="connsiteY39" fmla="*/ 105 h 10000"/>
                <a:gd name="connsiteX40" fmla="*/ 131 w 10000"/>
                <a:gd name="connsiteY40" fmla="*/ 69 h 10000"/>
                <a:gd name="connsiteX41" fmla="*/ 0 w 10000"/>
                <a:gd name="connsiteY41" fmla="*/ 141 h 10000"/>
                <a:gd name="connsiteX42" fmla="*/ 1092 w 10000"/>
                <a:gd name="connsiteY42" fmla="*/ 1432 h 10000"/>
                <a:gd name="connsiteX43" fmla="*/ 1092 w 10000"/>
                <a:gd name="connsiteY43" fmla="*/ 1432 h 10000"/>
                <a:gd name="connsiteX44" fmla="*/ 1048 w 10000"/>
                <a:gd name="connsiteY44" fmla="*/ 1611 h 10000"/>
                <a:gd name="connsiteX45" fmla="*/ 1048 w 10000"/>
                <a:gd name="connsiteY45" fmla="*/ 1611 h 10000"/>
                <a:gd name="connsiteX46" fmla="*/ 1048 w 10000"/>
                <a:gd name="connsiteY46" fmla="*/ 1754 h 10000"/>
                <a:gd name="connsiteX47" fmla="*/ 1092 w 10000"/>
                <a:gd name="connsiteY47" fmla="*/ 1898 h 10000"/>
                <a:gd name="connsiteX48" fmla="*/ 1223 w 10000"/>
                <a:gd name="connsiteY48" fmla="*/ 2005 h 10000"/>
                <a:gd name="connsiteX49" fmla="*/ 1310 w 10000"/>
                <a:gd name="connsiteY49" fmla="*/ 2041 h 10000"/>
                <a:gd name="connsiteX50" fmla="*/ 1616 w 10000"/>
                <a:gd name="connsiteY50" fmla="*/ 2041 h 10000"/>
                <a:gd name="connsiteX51" fmla="*/ 2096 w 10000"/>
                <a:gd name="connsiteY51" fmla="*/ 2579 h 10000"/>
                <a:gd name="connsiteX52" fmla="*/ 2227 w 10000"/>
                <a:gd name="connsiteY52" fmla="*/ 2507 h 10000"/>
                <a:gd name="connsiteX53" fmla="*/ 1834 w 10000"/>
                <a:gd name="connsiteY53" fmla="*/ 2041 h 10000"/>
                <a:gd name="connsiteX54" fmla="*/ 1834 w 10000"/>
                <a:gd name="connsiteY54" fmla="*/ 2041 h 10000"/>
                <a:gd name="connsiteX55" fmla="*/ 2140 w 10000"/>
                <a:gd name="connsiteY55" fmla="*/ 2436 h 10000"/>
                <a:gd name="connsiteX56" fmla="*/ 2533 w 10000"/>
                <a:gd name="connsiteY56" fmla="*/ 2220 h 10000"/>
                <a:gd name="connsiteX57" fmla="*/ 2402 w 10000"/>
                <a:gd name="connsiteY57" fmla="*/ 2077 h 10000"/>
                <a:gd name="connsiteX58" fmla="*/ 4629 w 10000"/>
                <a:gd name="connsiteY58" fmla="*/ 2185 h 10000"/>
                <a:gd name="connsiteX59" fmla="*/ 4629 w 10000"/>
                <a:gd name="connsiteY59" fmla="*/ 2185 h 10000"/>
                <a:gd name="connsiteX60" fmla="*/ 4672 w 10000"/>
                <a:gd name="connsiteY60" fmla="*/ 2185 h 10000"/>
                <a:gd name="connsiteX61" fmla="*/ 4716 w 10000"/>
                <a:gd name="connsiteY61" fmla="*/ 2185 h 10000"/>
                <a:gd name="connsiteX62" fmla="*/ 4716 w 10000"/>
                <a:gd name="connsiteY62" fmla="*/ 2185 h 10000"/>
                <a:gd name="connsiteX63" fmla="*/ 4803 w 10000"/>
                <a:gd name="connsiteY63" fmla="*/ 2185 h 10000"/>
                <a:gd name="connsiteX64" fmla="*/ 4847 w 10000"/>
                <a:gd name="connsiteY64" fmla="*/ 2148 h 10000"/>
                <a:gd name="connsiteX65" fmla="*/ 6550 w 10000"/>
                <a:gd name="connsiteY65" fmla="*/ 1647 h 10000"/>
                <a:gd name="connsiteX66" fmla="*/ 7511 w 10000"/>
                <a:gd name="connsiteY66" fmla="*/ 4694 h 10000"/>
                <a:gd name="connsiteX67" fmla="*/ 5764 w 10000"/>
                <a:gd name="connsiteY67" fmla="*/ 4586 h 10000"/>
                <a:gd name="connsiteX68" fmla="*/ 3755 w 10000"/>
                <a:gd name="connsiteY68" fmla="*/ 4479 h 10000"/>
                <a:gd name="connsiteX69" fmla="*/ 3755 w 10000"/>
                <a:gd name="connsiteY69" fmla="*/ 4479 h 10000"/>
                <a:gd name="connsiteX70" fmla="*/ 3581 w 10000"/>
                <a:gd name="connsiteY70" fmla="*/ 4514 h 10000"/>
                <a:gd name="connsiteX71" fmla="*/ 3406 w 10000"/>
                <a:gd name="connsiteY71" fmla="*/ 4586 h 10000"/>
                <a:gd name="connsiteX72" fmla="*/ 3275 w 10000"/>
                <a:gd name="connsiteY72" fmla="*/ 4694 h 10000"/>
                <a:gd name="connsiteX73" fmla="*/ 3144 w 10000"/>
                <a:gd name="connsiteY73" fmla="*/ 4838 h 10000"/>
                <a:gd name="connsiteX74" fmla="*/ 3100 w 10000"/>
                <a:gd name="connsiteY74" fmla="*/ 5088 h 10000"/>
                <a:gd name="connsiteX75" fmla="*/ 3100 w 10000"/>
                <a:gd name="connsiteY75" fmla="*/ 9427 h 10000"/>
                <a:gd name="connsiteX76" fmla="*/ 3100 w 10000"/>
                <a:gd name="connsiteY76" fmla="*/ 9427 h 10000"/>
                <a:gd name="connsiteX77" fmla="*/ 3144 w 10000"/>
                <a:gd name="connsiteY77" fmla="*/ 9534 h 10000"/>
                <a:gd name="connsiteX78" fmla="*/ 3188 w 10000"/>
                <a:gd name="connsiteY78" fmla="*/ 9641 h 10000"/>
                <a:gd name="connsiteX79" fmla="*/ 3231 w 10000"/>
                <a:gd name="connsiteY79" fmla="*/ 9749 h 10000"/>
                <a:gd name="connsiteX80" fmla="*/ 3319 w 10000"/>
                <a:gd name="connsiteY80" fmla="*/ 9821 h 10000"/>
                <a:gd name="connsiteX81" fmla="*/ 3450 w 10000"/>
                <a:gd name="connsiteY81" fmla="*/ 9893 h 10000"/>
                <a:gd name="connsiteX82" fmla="*/ 3537 w 10000"/>
                <a:gd name="connsiteY82" fmla="*/ 9965 h 10000"/>
                <a:gd name="connsiteX83" fmla="*/ 3668 w 10000"/>
                <a:gd name="connsiteY83" fmla="*/ 10000 h 10000"/>
                <a:gd name="connsiteX84" fmla="*/ 3843 w 10000"/>
                <a:gd name="connsiteY84" fmla="*/ 10000 h 10000"/>
                <a:gd name="connsiteX85" fmla="*/ 3843 w 10000"/>
                <a:gd name="connsiteY85" fmla="*/ 10000 h 10000"/>
                <a:gd name="connsiteX86" fmla="*/ 3974 w 10000"/>
                <a:gd name="connsiteY86" fmla="*/ 10000 h 10000"/>
                <a:gd name="connsiteX87" fmla="*/ 4105 w 10000"/>
                <a:gd name="connsiteY87" fmla="*/ 9965 h 10000"/>
                <a:gd name="connsiteX88" fmla="*/ 4236 w 10000"/>
                <a:gd name="connsiteY88" fmla="*/ 9893 h 10000"/>
                <a:gd name="connsiteX89" fmla="*/ 4367 w 10000"/>
                <a:gd name="connsiteY89" fmla="*/ 9821 h 10000"/>
                <a:gd name="connsiteX90" fmla="*/ 4454 w 10000"/>
                <a:gd name="connsiteY90" fmla="*/ 9749 h 10000"/>
                <a:gd name="connsiteX91" fmla="*/ 4498 w 10000"/>
                <a:gd name="connsiteY91" fmla="*/ 9641 h 10000"/>
                <a:gd name="connsiteX92" fmla="*/ 4541 w 10000"/>
                <a:gd name="connsiteY92" fmla="*/ 9534 h 10000"/>
                <a:gd name="connsiteX93" fmla="*/ 4541 w 10000"/>
                <a:gd name="connsiteY93" fmla="*/ 9427 h 10000"/>
                <a:gd name="connsiteX94" fmla="*/ 4541 w 10000"/>
                <a:gd name="connsiteY94" fmla="*/ 5805 h 10000"/>
                <a:gd name="connsiteX95" fmla="*/ 6900 w 10000"/>
                <a:gd name="connsiteY95" fmla="*/ 6056 h 10000"/>
                <a:gd name="connsiteX0" fmla="*/ 6900 w 10000"/>
                <a:gd name="connsiteY0" fmla="*/ 5987 h 9931"/>
                <a:gd name="connsiteX1" fmla="*/ 6900 w 10000"/>
                <a:gd name="connsiteY1" fmla="*/ 5987 h 9931"/>
                <a:gd name="connsiteX2" fmla="*/ 8079 w 10000"/>
                <a:gd name="connsiteY2" fmla="*/ 6095 h 9931"/>
                <a:gd name="connsiteX3" fmla="*/ 8821 w 10000"/>
                <a:gd name="connsiteY3" fmla="*/ 6167 h 9931"/>
                <a:gd name="connsiteX4" fmla="*/ 8821 w 10000"/>
                <a:gd name="connsiteY4" fmla="*/ 6167 h 9931"/>
                <a:gd name="connsiteX5" fmla="*/ 8996 w 10000"/>
                <a:gd name="connsiteY5" fmla="*/ 6167 h 9931"/>
                <a:gd name="connsiteX6" fmla="*/ 9170 w 10000"/>
                <a:gd name="connsiteY6" fmla="*/ 6131 h 9931"/>
                <a:gd name="connsiteX7" fmla="*/ 9170 w 10000"/>
                <a:gd name="connsiteY7" fmla="*/ 6131 h 9931"/>
                <a:gd name="connsiteX8" fmla="*/ 9476 w 10000"/>
                <a:gd name="connsiteY8" fmla="*/ 6023 h 9931"/>
                <a:gd name="connsiteX9" fmla="*/ 9476 w 10000"/>
                <a:gd name="connsiteY9" fmla="*/ 6023 h 9931"/>
                <a:gd name="connsiteX10" fmla="*/ 9476 w 10000"/>
                <a:gd name="connsiteY10" fmla="*/ 6023 h 9931"/>
                <a:gd name="connsiteX11" fmla="*/ 9476 w 10000"/>
                <a:gd name="connsiteY11" fmla="*/ 6023 h 9931"/>
                <a:gd name="connsiteX12" fmla="*/ 9476 w 10000"/>
                <a:gd name="connsiteY12" fmla="*/ 6023 h 9931"/>
                <a:gd name="connsiteX13" fmla="*/ 9607 w 10000"/>
                <a:gd name="connsiteY13" fmla="*/ 5952 h 9931"/>
                <a:gd name="connsiteX14" fmla="*/ 9738 w 10000"/>
                <a:gd name="connsiteY14" fmla="*/ 5808 h 9931"/>
                <a:gd name="connsiteX15" fmla="*/ 9825 w 10000"/>
                <a:gd name="connsiteY15" fmla="*/ 5701 h 9931"/>
                <a:gd name="connsiteX16" fmla="*/ 9913 w 10000"/>
                <a:gd name="connsiteY16" fmla="*/ 5521 h 9931"/>
                <a:gd name="connsiteX17" fmla="*/ 9956 w 10000"/>
                <a:gd name="connsiteY17" fmla="*/ 5377 h 9931"/>
                <a:gd name="connsiteX18" fmla="*/ 10000 w 10000"/>
                <a:gd name="connsiteY18" fmla="*/ 5198 h 9931"/>
                <a:gd name="connsiteX19" fmla="*/ 10000 w 10000"/>
                <a:gd name="connsiteY19" fmla="*/ 5019 h 9931"/>
                <a:gd name="connsiteX20" fmla="*/ 9956 w 10000"/>
                <a:gd name="connsiteY20" fmla="*/ 4841 h 9931"/>
                <a:gd name="connsiteX21" fmla="*/ 8734 w 10000"/>
                <a:gd name="connsiteY21" fmla="*/ 1075 h 9931"/>
                <a:gd name="connsiteX22" fmla="*/ 8734 w 10000"/>
                <a:gd name="connsiteY22" fmla="*/ 1075 h 9931"/>
                <a:gd name="connsiteX23" fmla="*/ 8646 w 10000"/>
                <a:gd name="connsiteY23" fmla="*/ 860 h 9931"/>
                <a:gd name="connsiteX24" fmla="*/ 8515 w 10000"/>
                <a:gd name="connsiteY24" fmla="*/ 681 h 9931"/>
                <a:gd name="connsiteX25" fmla="*/ 8341 w 10000"/>
                <a:gd name="connsiteY25" fmla="*/ 502 h 9931"/>
                <a:gd name="connsiteX26" fmla="*/ 8166 w 10000"/>
                <a:gd name="connsiteY26" fmla="*/ 394 h 9931"/>
                <a:gd name="connsiteX27" fmla="*/ 7948 w 10000"/>
                <a:gd name="connsiteY27" fmla="*/ 287 h 9931"/>
                <a:gd name="connsiteX28" fmla="*/ 7729 w 10000"/>
                <a:gd name="connsiteY28" fmla="*/ 251 h 9931"/>
                <a:gd name="connsiteX29" fmla="*/ 7511 w 10000"/>
                <a:gd name="connsiteY29" fmla="*/ 215 h 9931"/>
                <a:gd name="connsiteX30" fmla="*/ 7293 w 10000"/>
                <a:gd name="connsiteY30" fmla="*/ 251 h 9931"/>
                <a:gd name="connsiteX31" fmla="*/ 7293 w 10000"/>
                <a:gd name="connsiteY31" fmla="*/ 251 h 9931"/>
                <a:gd name="connsiteX32" fmla="*/ 7074 w 10000"/>
                <a:gd name="connsiteY32" fmla="*/ 322 h 9931"/>
                <a:gd name="connsiteX33" fmla="*/ 6900 w 10000"/>
                <a:gd name="connsiteY33" fmla="*/ 430 h 9931"/>
                <a:gd name="connsiteX34" fmla="*/ 6769 w 10000"/>
                <a:gd name="connsiteY34" fmla="*/ 538 h 9931"/>
                <a:gd name="connsiteX35" fmla="*/ 6638 w 10000"/>
                <a:gd name="connsiteY35" fmla="*/ 681 h 9931"/>
                <a:gd name="connsiteX36" fmla="*/ 4541 w 10000"/>
                <a:gd name="connsiteY36" fmla="*/ 1291 h 9931"/>
                <a:gd name="connsiteX37" fmla="*/ 1086 w 10000"/>
                <a:gd name="connsiteY37" fmla="*/ 1244 h 9931"/>
                <a:gd name="connsiteX38" fmla="*/ 175 w 10000"/>
                <a:gd name="connsiteY38" fmla="*/ 36 h 9931"/>
                <a:gd name="connsiteX39" fmla="*/ 131 w 10000"/>
                <a:gd name="connsiteY39" fmla="*/ 0 h 9931"/>
                <a:gd name="connsiteX40" fmla="*/ 0 w 10000"/>
                <a:gd name="connsiteY40" fmla="*/ 72 h 9931"/>
                <a:gd name="connsiteX41" fmla="*/ 1092 w 10000"/>
                <a:gd name="connsiteY41" fmla="*/ 1363 h 9931"/>
                <a:gd name="connsiteX42" fmla="*/ 1092 w 10000"/>
                <a:gd name="connsiteY42" fmla="*/ 1363 h 9931"/>
                <a:gd name="connsiteX43" fmla="*/ 1048 w 10000"/>
                <a:gd name="connsiteY43" fmla="*/ 1542 h 9931"/>
                <a:gd name="connsiteX44" fmla="*/ 1048 w 10000"/>
                <a:gd name="connsiteY44" fmla="*/ 1542 h 9931"/>
                <a:gd name="connsiteX45" fmla="*/ 1048 w 10000"/>
                <a:gd name="connsiteY45" fmla="*/ 1685 h 9931"/>
                <a:gd name="connsiteX46" fmla="*/ 1092 w 10000"/>
                <a:gd name="connsiteY46" fmla="*/ 1829 h 9931"/>
                <a:gd name="connsiteX47" fmla="*/ 1223 w 10000"/>
                <a:gd name="connsiteY47" fmla="*/ 1936 h 9931"/>
                <a:gd name="connsiteX48" fmla="*/ 1310 w 10000"/>
                <a:gd name="connsiteY48" fmla="*/ 1972 h 9931"/>
                <a:gd name="connsiteX49" fmla="*/ 1616 w 10000"/>
                <a:gd name="connsiteY49" fmla="*/ 1972 h 9931"/>
                <a:gd name="connsiteX50" fmla="*/ 2096 w 10000"/>
                <a:gd name="connsiteY50" fmla="*/ 2510 h 9931"/>
                <a:gd name="connsiteX51" fmla="*/ 2227 w 10000"/>
                <a:gd name="connsiteY51" fmla="*/ 2438 h 9931"/>
                <a:gd name="connsiteX52" fmla="*/ 1834 w 10000"/>
                <a:gd name="connsiteY52" fmla="*/ 1972 h 9931"/>
                <a:gd name="connsiteX53" fmla="*/ 1834 w 10000"/>
                <a:gd name="connsiteY53" fmla="*/ 1972 h 9931"/>
                <a:gd name="connsiteX54" fmla="*/ 2140 w 10000"/>
                <a:gd name="connsiteY54" fmla="*/ 2367 h 9931"/>
                <a:gd name="connsiteX55" fmla="*/ 2533 w 10000"/>
                <a:gd name="connsiteY55" fmla="*/ 2151 h 9931"/>
                <a:gd name="connsiteX56" fmla="*/ 2402 w 10000"/>
                <a:gd name="connsiteY56" fmla="*/ 2008 h 9931"/>
                <a:gd name="connsiteX57" fmla="*/ 4629 w 10000"/>
                <a:gd name="connsiteY57" fmla="*/ 2116 h 9931"/>
                <a:gd name="connsiteX58" fmla="*/ 4629 w 10000"/>
                <a:gd name="connsiteY58" fmla="*/ 2116 h 9931"/>
                <a:gd name="connsiteX59" fmla="*/ 4672 w 10000"/>
                <a:gd name="connsiteY59" fmla="*/ 2116 h 9931"/>
                <a:gd name="connsiteX60" fmla="*/ 4716 w 10000"/>
                <a:gd name="connsiteY60" fmla="*/ 2116 h 9931"/>
                <a:gd name="connsiteX61" fmla="*/ 4716 w 10000"/>
                <a:gd name="connsiteY61" fmla="*/ 2116 h 9931"/>
                <a:gd name="connsiteX62" fmla="*/ 4803 w 10000"/>
                <a:gd name="connsiteY62" fmla="*/ 2116 h 9931"/>
                <a:gd name="connsiteX63" fmla="*/ 4847 w 10000"/>
                <a:gd name="connsiteY63" fmla="*/ 2079 h 9931"/>
                <a:gd name="connsiteX64" fmla="*/ 6550 w 10000"/>
                <a:gd name="connsiteY64" fmla="*/ 1578 h 9931"/>
                <a:gd name="connsiteX65" fmla="*/ 7511 w 10000"/>
                <a:gd name="connsiteY65" fmla="*/ 4625 h 9931"/>
                <a:gd name="connsiteX66" fmla="*/ 5764 w 10000"/>
                <a:gd name="connsiteY66" fmla="*/ 4517 h 9931"/>
                <a:gd name="connsiteX67" fmla="*/ 3755 w 10000"/>
                <a:gd name="connsiteY67" fmla="*/ 4410 h 9931"/>
                <a:gd name="connsiteX68" fmla="*/ 3755 w 10000"/>
                <a:gd name="connsiteY68" fmla="*/ 4410 h 9931"/>
                <a:gd name="connsiteX69" fmla="*/ 3581 w 10000"/>
                <a:gd name="connsiteY69" fmla="*/ 4445 h 9931"/>
                <a:gd name="connsiteX70" fmla="*/ 3406 w 10000"/>
                <a:gd name="connsiteY70" fmla="*/ 4517 h 9931"/>
                <a:gd name="connsiteX71" fmla="*/ 3275 w 10000"/>
                <a:gd name="connsiteY71" fmla="*/ 4625 h 9931"/>
                <a:gd name="connsiteX72" fmla="*/ 3144 w 10000"/>
                <a:gd name="connsiteY72" fmla="*/ 4769 h 9931"/>
                <a:gd name="connsiteX73" fmla="*/ 3100 w 10000"/>
                <a:gd name="connsiteY73" fmla="*/ 5019 h 9931"/>
                <a:gd name="connsiteX74" fmla="*/ 3100 w 10000"/>
                <a:gd name="connsiteY74" fmla="*/ 9358 h 9931"/>
                <a:gd name="connsiteX75" fmla="*/ 3100 w 10000"/>
                <a:gd name="connsiteY75" fmla="*/ 9358 h 9931"/>
                <a:gd name="connsiteX76" fmla="*/ 3144 w 10000"/>
                <a:gd name="connsiteY76" fmla="*/ 9465 h 9931"/>
                <a:gd name="connsiteX77" fmla="*/ 3188 w 10000"/>
                <a:gd name="connsiteY77" fmla="*/ 9572 h 9931"/>
                <a:gd name="connsiteX78" fmla="*/ 3231 w 10000"/>
                <a:gd name="connsiteY78" fmla="*/ 9680 h 9931"/>
                <a:gd name="connsiteX79" fmla="*/ 3319 w 10000"/>
                <a:gd name="connsiteY79" fmla="*/ 9752 h 9931"/>
                <a:gd name="connsiteX80" fmla="*/ 3450 w 10000"/>
                <a:gd name="connsiteY80" fmla="*/ 9824 h 9931"/>
                <a:gd name="connsiteX81" fmla="*/ 3537 w 10000"/>
                <a:gd name="connsiteY81" fmla="*/ 9896 h 9931"/>
                <a:gd name="connsiteX82" fmla="*/ 3668 w 10000"/>
                <a:gd name="connsiteY82" fmla="*/ 9931 h 9931"/>
                <a:gd name="connsiteX83" fmla="*/ 3843 w 10000"/>
                <a:gd name="connsiteY83" fmla="*/ 9931 h 9931"/>
                <a:gd name="connsiteX84" fmla="*/ 3843 w 10000"/>
                <a:gd name="connsiteY84" fmla="*/ 9931 h 9931"/>
                <a:gd name="connsiteX85" fmla="*/ 3974 w 10000"/>
                <a:gd name="connsiteY85" fmla="*/ 9931 h 9931"/>
                <a:gd name="connsiteX86" fmla="*/ 4105 w 10000"/>
                <a:gd name="connsiteY86" fmla="*/ 9896 h 9931"/>
                <a:gd name="connsiteX87" fmla="*/ 4236 w 10000"/>
                <a:gd name="connsiteY87" fmla="*/ 9824 h 9931"/>
                <a:gd name="connsiteX88" fmla="*/ 4367 w 10000"/>
                <a:gd name="connsiteY88" fmla="*/ 9752 h 9931"/>
                <a:gd name="connsiteX89" fmla="*/ 4454 w 10000"/>
                <a:gd name="connsiteY89" fmla="*/ 9680 h 9931"/>
                <a:gd name="connsiteX90" fmla="*/ 4498 w 10000"/>
                <a:gd name="connsiteY90" fmla="*/ 9572 h 9931"/>
                <a:gd name="connsiteX91" fmla="*/ 4541 w 10000"/>
                <a:gd name="connsiteY91" fmla="*/ 9465 h 9931"/>
                <a:gd name="connsiteX92" fmla="*/ 4541 w 10000"/>
                <a:gd name="connsiteY92" fmla="*/ 9358 h 9931"/>
                <a:gd name="connsiteX93" fmla="*/ 4541 w 10000"/>
                <a:gd name="connsiteY93" fmla="*/ 5736 h 9931"/>
                <a:gd name="connsiteX94" fmla="*/ 6900 w 10000"/>
                <a:gd name="connsiteY94" fmla="*/ 5987 h 9931"/>
                <a:gd name="connsiteX0" fmla="*/ 6963 w 10063"/>
                <a:gd name="connsiteY0" fmla="*/ 6132 h 10103"/>
                <a:gd name="connsiteX1" fmla="*/ 6963 w 10063"/>
                <a:gd name="connsiteY1" fmla="*/ 6132 h 10103"/>
                <a:gd name="connsiteX2" fmla="*/ 8142 w 10063"/>
                <a:gd name="connsiteY2" fmla="*/ 6240 h 10103"/>
                <a:gd name="connsiteX3" fmla="*/ 8884 w 10063"/>
                <a:gd name="connsiteY3" fmla="*/ 6313 h 10103"/>
                <a:gd name="connsiteX4" fmla="*/ 8884 w 10063"/>
                <a:gd name="connsiteY4" fmla="*/ 6313 h 10103"/>
                <a:gd name="connsiteX5" fmla="*/ 9059 w 10063"/>
                <a:gd name="connsiteY5" fmla="*/ 6313 h 10103"/>
                <a:gd name="connsiteX6" fmla="*/ 9233 w 10063"/>
                <a:gd name="connsiteY6" fmla="*/ 6277 h 10103"/>
                <a:gd name="connsiteX7" fmla="*/ 9233 w 10063"/>
                <a:gd name="connsiteY7" fmla="*/ 6277 h 10103"/>
                <a:gd name="connsiteX8" fmla="*/ 9539 w 10063"/>
                <a:gd name="connsiteY8" fmla="*/ 6168 h 10103"/>
                <a:gd name="connsiteX9" fmla="*/ 9539 w 10063"/>
                <a:gd name="connsiteY9" fmla="*/ 6168 h 10103"/>
                <a:gd name="connsiteX10" fmla="*/ 9539 w 10063"/>
                <a:gd name="connsiteY10" fmla="*/ 6168 h 10103"/>
                <a:gd name="connsiteX11" fmla="*/ 9539 w 10063"/>
                <a:gd name="connsiteY11" fmla="*/ 6168 h 10103"/>
                <a:gd name="connsiteX12" fmla="*/ 9539 w 10063"/>
                <a:gd name="connsiteY12" fmla="*/ 6168 h 10103"/>
                <a:gd name="connsiteX13" fmla="*/ 9670 w 10063"/>
                <a:gd name="connsiteY13" fmla="*/ 6096 h 10103"/>
                <a:gd name="connsiteX14" fmla="*/ 9801 w 10063"/>
                <a:gd name="connsiteY14" fmla="*/ 5951 h 10103"/>
                <a:gd name="connsiteX15" fmla="*/ 9888 w 10063"/>
                <a:gd name="connsiteY15" fmla="*/ 5844 h 10103"/>
                <a:gd name="connsiteX16" fmla="*/ 9976 w 10063"/>
                <a:gd name="connsiteY16" fmla="*/ 5662 h 10103"/>
                <a:gd name="connsiteX17" fmla="*/ 10019 w 10063"/>
                <a:gd name="connsiteY17" fmla="*/ 5517 h 10103"/>
                <a:gd name="connsiteX18" fmla="*/ 10063 w 10063"/>
                <a:gd name="connsiteY18" fmla="*/ 5337 h 10103"/>
                <a:gd name="connsiteX19" fmla="*/ 10063 w 10063"/>
                <a:gd name="connsiteY19" fmla="*/ 5157 h 10103"/>
                <a:gd name="connsiteX20" fmla="*/ 10019 w 10063"/>
                <a:gd name="connsiteY20" fmla="*/ 4978 h 10103"/>
                <a:gd name="connsiteX21" fmla="*/ 8797 w 10063"/>
                <a:gd name="connsiteY21" fmla="*/ 1185 h 10103"/>
                <a:gd name="connsiteX22" fmla="*/ 8797 w 10063"/>
                <a:gd name="connsiteY22" fmla="*/ 1185 h 10103"/>
                <a:gd name="connsiteX23" fmla="*/ 8709 w 10063"/>
                <a:gd name="connsiteY23" fmla="*/ 969 h 10103"/>
                <a:gd name="connsiteX24" fmla="*/ 8578 w 10063"/>
                <a:gd name="connsiteY24" fmla="*/ 789 h 10103"/>
                <a:gd name="connsiteX25" fmla="*/ 8404 w 10063"/>
                <a:gd name="connsiteY25" fmla="*/ 608 h 10103"/>
                <a:gd name="connsiteX26" fmla="*/ 8229 w 10063"/>
                <a:gd name="connsiteY26" fmla="*/ 500 h 10103"/>
                <a:gd name="connsiteX27" fmla="*/ 8011 w 10063"/>
                <a:gd name="connsiteY27" fmla="*/ 392 h 10103"/>
                <a:gd name="connsiteX28" fmla="*/ 7792 w 10063"/>
                <a:gd name="connsiteY28" fmla="*/ 356 h 10103"/>
                <a:gd name="connsiteX29" fmla="*/ 7574 w 10063"/>
                <a:gd name="connsiteY29" fmla="*/ 319 h 10103"/>
                <a:gd name="connsiteX30" fmla="*/ 7356 w 10063"/>
                <a:gd name="connsiteY30" fmla="*/ 356 h 10103"/>
                <a:gd name="connsiteX31" fmla="*/ 7356 w 10063"/>
                <a:gd name="connsiteY31" fmla="*/ 356 h 10103"/>
                <a:gd name="connsiteX32" fmla="*/ 7137 w 10063"/>
                <a:gd name="connsiteY32" fmla="*/ 427 h 10103"/>
                <a:gd name="connsiteX33" fmla="*/ 6963 w 10063"/>
                <a:gd name="connsiteY33" fmla="*/ 536 h 10103"/>
                <a:gd name="connsiteX34" fmla="*/ 6832 w 10063"/>
                <a:gd name="connsiteY34" fmla="*/ 645 h 10103"/>
                <a:gd name="connsiteX35" fmla="*/ 6701 w 10063"/>
                <a:gd name="connsiteY35" fmla="*/ 789 h 10103"/>
                <a:gd name="connsiteX36" fmla="*/ 4604 w 10063"/>
                <a:gd name="connsiteY36" fmla="*/ 1403 h 10103"/>
                <a:gd name="connsiteX37" fmla="*/ 1149 w 10063"/>
                <a:gd name="connsiteY37" fmla="*/ 1356 h 10103"/>
                <a:gd name="connsiteX38" fmla="*/ 238 w 10063"/>
                <a:gd name="connsiteY38" fmla="*/ 139 h 10103"/>
                <a:gd name="connsiteX39" fmla="*/ 63 w 10063"/>
                <a:gd name="connsiteY39" fmla="*/ 176 h 10103"/>
                <a:gd name="connsiteX40" fmla="*/ 1155 w 10063"/>
                <a:gd name="connsiteY40" fmla="*/ 1475 h 10103"/>
                <a:gd name="connsiteX41" fmla="*/ 1155 w 10063"/>
                <a:gd name="connsiteY41" fmla="*/ 1475 h 10103"/>
                <a:gd name="connsiteX42" fmla="*/ 1111 w 10063"/>
                <a:gd name="connsiteY42" fmla="*/ 1656 h 10103"/>
                <a:gd name="connsiteX43" fmla="*/ 1111 w 10063"/>
                <a:gd name="connsiteY43" fmla="*/ 1656 h 10103"/>
                <a:gd name="connsiteX44" fmla="*/ 1111 w 10063"/>
                <a:gd name="connsiteY44" fmla="*/ 1800 h 10103"/>
                <a:gd name="connsiteX45" fmla="*/ 1155 w 10063"/>
                <a:gd name="connsiteY45" fmla="*/ 1945 h 10103"/>
                <a:gd name="connsiteX46" fmla="*/ 1286 w 10063"/>
                <a:gd name="connsiteY46" fmla="*/ 2052 h 10103"/>
                <a:gd name="connsiteX47" fmla="*/ 1373 w 10063"/>
                <a:gd name="connsiteY47" fmla="*/ 2089 h 10103"/>
                <a:gd name="connsiteX48" fmla="*/ 1679 w 10063"/>
                <a:gd name="connsiteY48" fmla="*/ 2089 h 10103"/>
                <a:gd name="connsiteX49" fmla="*/ 2159 w 10063"/>
                <a:gd name="connsiteY49" fmla="*/ 2630 h 10103"/>
                <a:gd name="connsiteX50" fmla="*/ 2290 w 10063"/>
                <a:gd name="connsiteY50" fmla="*/ 2558 h 10103"/>
                <a:gd name="connsiteX51" fmla="*/ 1897 w 10063"/>
                <a:gd name="connsiteY51" fmla="*/ 2089 h 10103"/>
                <a:gd name="connsiteX52" fmla="*/ 1897 w 10063"/>
                <a:gd name="connsiteY52" fmla="*/ 2089 h 10103"/>
                <a:gd name="connsiteX53" fmla="*/ 2203 w 10063"/>
                <a:gd name="connsiteY53" fmla="*/ 2486 h 10103"/>
                <a:gd name="connsiteX54" fmla="*/ 2596 w 10063"/>
                <a:gd name="connsiteY54" fmla="*/ 2269 h 10103"/>
                <a:gd name="connsiteX55" fmla="*/ 2465 w 10063"/>
                <a:gd name="connsiteY55" fmla="*/ 2125 h 10103"/>
                <a:gd name="connsiteX56" fmla="*/ 4692 w 10063"/>
                <a:gd name="connsiteY56" fmla="*/ 2234 h 10103"/>
                <a:gd name="connsiteX57" fmla="*/ 4692 w 10063"/>
                <a:gd name="connsiteY57" fmla="*/ 2234 h 10103"/>
                <a:gd name="connsiteX58" fmla="*/ 4735 w 10063"/>
                <a:gd name="connsiteY58" fmla="*/ 2234 h 10103"/>
                <a:gd name="connsiteX59" fmla="*/ 4779 w 10063"/>
                <a:gd name="connsiteY59" fmla="*/ 2234 h 10103"/>
                <a:gd name="connsiteX60" fmla="*/ 4779 w 10063"/>
                <a:gd name="connsiteY60" fmla="*/ 2234 h 10103"/>
                <a:gd name="connsiteX61" fmla="*/ 4866 w 10063"/>
                <a:gd name="connsiteY61" fmla="*/ 2234 h 10103"/>
                <a:gd name="connsiteX62" fmla="*/ 4910 w 10063"/>
                <a:gd name="connsiteY62" fmla="*/ 2196 h 10103"/>
                <a:gd name="connsiteX63" fmla="*/ 6613 w 10063"/>
                <a:gd name="connsiteY63" fmla="*/ 1692 h 10103"/>
                <a:gd name="connsiteX64" fmla="*/ 7574 w 10063"/>
                <a:gd name="connsiteY64" fmla="*/ 4760 h 10103"/>
                <a:gd name="connsiteX65" fmla="*/ 5827 w 10063"/>
                <a:gd name="connsiteY65" fmla="*/ 4651 h 10103"/>
                <a:gd name="connsiteX66" fmla="*/ 3818 w 10063"/>
                <a:gd name="connsiteY66" fmla="*/ 4544 h 10103"/>
                <a:gd name="connsiteX67" fmla="*/ 3818 w 10063"/>
                <a:gd name="connsiteY67" fmla="*/ 4544 h 10103"/>
                <a:gd name="connsiteX68" fmla="*/ 3644 w 10063"/>
                <a:gd name="connsiteY68" fmla="*/ 4579 h 10103"/>
                <a:gd name="connsiteX69" fmla="*/ 3469 w 10063"/>
                <a:gd name="connsiteY69" fmla="*/ 4651 h 10103"/>
                <a:gd name="connsiteX70" fmla="*/ 3338 w 10063"/>
                <a:gd name="connsiteY70" fmla="*/ 4760 h 10103"/>
                <a:gd name="connsiteX71" fmla="*/ 3207 w 10063"/>
                <a:gd name="connsiteY71" fmla="*/ 4905 h 10103"/>
                <a:gd name="connsiteX72" fmla="*/ 3163 w 10063"/>
                <a:gd name="connsiteY72" fmla="*/ 5157 h 10103"/>
                <a:gd name="connsiteX73" fmla="*/ 3163 w 10063"/>
                <a:gd name="connsiteY73" fmla="*/ 9526 h 10103"/>
                <a:gd name="connsiteX74" fmla="*/ 3163 w 10063"/>
                <a:gd name="connsiteY74" fmla="*/ 9526 h 10103"/>
                <a:gd name="connsiteX75" fmla="*/ 3207 w 10063"/>
                <a:gd name="connsiteY75" fmla="*/ 9634 h 10103"/>
                <a:gd name="connsiteX76" fmla="*/ 3251 w 10063"/>
                <a:gd name="connsiteY76" fmla="*/ 9742 h 10103"/>
                <a:gd name="connsiteX77" fmla="*/ 3294 w 10063"/>
                <a:gd name="connsiteY77" fmla="*/ 9850 h 10103"/>
                <a:gd name="connsiteX78" fmla="*/ 3382 w 10063"/>
                <a:gd name="connsiteY78" fmla="*/ 9923 h 10103"/>
                <a:gd name="connsiteX79" fmla="*/ 3513 w 10063"/>
                <a:gd name="connsiteY79" fmla="*/ 9995 h 10103"/>
                <a:gd name="connsiteX80" fmla="*/ 3600 w 10063"/>
                <a:gd name="connsiteY80" fmla="*/ 10068 h 10103"/>
                <a:gd name="connsiteX81" fmla="*/ 3731 w 10063"/>
                <a:gd name="connsiteY81" fmla="*/ 10103 h 10103"/>
                <a:gd name="connsiteX82" fmla="*/ 3906 w 10063"/>
                <a:gd name="connsiteY82" fmla="*/ 10103 h 10103"/>
                <a:gd name="connsiteX83" fmla="*/ 3906 w 10063"/>
                <a:gd name="connsiteY83" fmla="*/ 10103 h 10103"/>
                <a:gd name="connsiteX84" fmla="*/ 4037 w 10063"/>
                <a:gd name="connsiteY84" fmla="*/ 10103 h 10103"/>
                <a:gd name="connsiteX85" fmla="*/ 4168 w 10063"/>
                <a:gd name="connsiteY85" fmla="*/ 10068 h 10103"/>
                <a:gd name="connsiteX86" fmla="*/ 4299 w 10063"/>
                <a:gd name="connsiteY86" fmla="*/ 9995 h 10103"/>
                <a:gd name="connsiteX87" fmla="*/ 4430 w 10063"/>
                <a:gd name="connsiteY87" fmla="*/ 9923 h 10103"/>
                <a:gd name="connsiteX88" fmla="*/ 4517 w 10063"/>
                <a:gd name="connsiteY88" fmla="*/ 9850 h 10103"/>
                <a:gd name="connsiteX89" fmla="*/ 4561 w 10063"/>
                <a:gd name="connsiteY89" fmla="*/ 9742 h 10103"/>
                <a:gd name="connsiteX90" fmla="*/ 4604 w 10063"/>
                <a:gd name="connsiteY90" fmla="*/ 9634 h 10103"/>
                <a:gd name="connsiteX91" fmla="*/ 4604 w 10063"/>
                <a:gd name="connsiteY91" fmla="*/ 9526 h 10103"/>
                <a:gd name="connsiteX92" fmla="*/ 4604 w 10063"/>
                <a:gd name="connsiteY92" fmla="*/ 5879 h 10103"/>
                <a:gd name="connsiteX93" fmla="*/ 6963 w 10063"/>
                <a:gd name="connsiteY93" fmla="*/ 6132 h 10103"/>
                <a:gd name="connsiteX0" fmla="*/ 6963 w 10063"/>
                <a:gd name="connsiteY0" fmla="*/ 6132 h 10103"/>
                <a:gd name="connsiteX1" fmla="*/ 6963 w 10063"/>
                <a:gd name="connsiteY1" fmla="*/ 6132 h 10103"/>
                <a:gd name="connsiteX2" fmla="*/ 8142 w 10063"/>
                <a:gd name="connsiteY2" fmla="*/ 6240 h 10103"/>
                <a:gd name="connsiteX3" fmla="*/ 8884 w 10063"/>
                <a:gd name="connsiteY3" fmla="*/ 6313 h 10103"/>
                <a:gd name="connsiteX4" fmla="*/ 8884 w 10063"/>
                <a:gd name="connsiteY4" fmla="*/ 6313 h 10103"/>
                <a:gd name="connsiteX5" fmla="*/ 9059 w 10063"/>
                <a:gd name="connsiteY5" fmla="*/ 6313 h 10103"/>
                <a:gd name="connsiteX6" fmla="*/ 9233 w 10063"/>
                <a:gd name="connsiteY6" fmla="*/ 6277 h 10103"/>
                <a:gd name="connsiteX7" fmla="*/ 9233 w 10063"/>
                <a:gd name="connsiteY7" fmla="*/ 6277 h 10103"/>
                <a:gd name="connsiteX8" fmla="*/ 9539 w 10063"/>
                <a:gd name="connsiteY8" fmla="*/ 6168 h 10103"/>
                <a:gd name="connsiteX9" fmla="*/ 9539 w 10063"/>
                <a:gd name="connsiteY9" fmla="*/ 6168 h 10103"/>
                <a:gd name="connsiteX10" fmla="*/ 9539 w 10063"/>
                <a:gd name="connsiteY10" fmla="*/ 6168 h 10103"/>
                <a:gd name="connsiteX11" fmla="*/ 9539 w 10063"/>
                <a:gd name="connsiteY11" fmla="*/ 6168 h 10103"/>
                <a:gd name="connsiteX12" fmla="*/ 9539 w 10063"/>
                <a:gd name="connsiteY12" fmla="*/ 6168 h 10103"/>
                <a:gd name="connsiteX13" fmla="*/ 9670 w 10063"/>
                <a:gd name="connsiteY13" fmla="*/ 6096 h 10103"/>
                <a:gd name="connsiteX14" fmla="*/ 9801 w 10063"/>
                <a:gd name="connsiteY14" fmla="*/ 5951 h 10103"/>
                <a:gd name="connsiteX15" fmla="*/ 9888 w 10063"/>
                <a:gd name="connsiteY15" fmla="*/ 5844 h 10103"/>
                <a:gd name="connsiteX16" fmla="*/ 9976 w 10063"/>
                <a:gd name="connsiteY16" fmla="*/ 5662 h 10103"/>
                <a:gd name="connsiteX17" fmla="*/ 10019 w 10063"/>
                <a:gd name="connsiteY17" fmla="*/ 5517 h 10103"/>
                <a:gd name="connsiteX18" fmla="*/ 10063 w 10063"/>
                <a:gd name="connsiteY18" fmla="*/ 5337 h 10103"/>
                <a:gd name="connsiteX19" fmla="*/ 10063 w 10063"/>
                <a:gd name="connsiteY19" fmla="*/ 5157 h 10103"/>
                <a:gd name="connsiteX20" fmla="*/ 10019 w 10063"/>
                <a:gd name="connsiteY20" fmla="*/ 4978 h 10103"/>
                <a:gd name="connsiteX21" fmla="*/ 8797 w 10063"/>
                <a:gd name="connsiteY21" fmla="*/ 1185 h 10103"/>
                <a:gd name="connsiteX22" fmla="*/ 8797 w 10063"/>
                <a:gd name="connsiteY22" fmla="*/ 1185 h 10103"/>
                <a:gd name="connsiteX23" fmla="*/ 8709 w 10063"/>
                <a:gd name="connsiteY23" fmla="*/ 969 h 10103"/>
                <a:gd name="connsiteX24" fmla="*/ 8578 w 10063"/>
                <a:gd name="connsiteY24" fmla="*/ 789 h 10103"/>
                <a:gd name="connsiteX25" fmla="*/ 8404 w 10063"/>
                <a:gd name="connsiteY25" fmla="*/ 608 h 10103"/>
                <a:gd name="connsiteX26" fmla="*/ 8229 w 10063"/>
                <a:gd name="connsiteY26" fmla="*/ 500 h 10103"/>
                <a:gd name="connsiteX27" fmla="*/ 8011 w 10063"/>
                <a:gd name="connsiteY27" fmla="*/ 392 h 10103"/>
                <a:gd name="connsiteX28" fmla="*/ 7792 w 10063"/>
                <a:gd name="connsiteY28" fmla="*/ 356 h 10103"/>
                <a:gd name="connsiteX29" fmla="*/ 7574 w 10063"/>
                <a:gd name="connsiteY29" fmla="*/ 319 h 10103"/>
                <a:gd name="connsiteX30" fmla="*/ 7356 w 10063"/>
                <a:gd name="connsiteY30" fmla="*/ 356 h 10103"/>
                <a:gd name="connsiteX31" fmla="*/ 7356 w 10063"/>
                <a:gd name="connsiteY31" fmla="*/ 356 h 10103"/>
                <a:gd name="connsiteX32" fmla="*/ 7137 w 10063"/>
                <a:gd name="connsiteY32" fmla="*/ 427 h 10103"/>
                <a:gd name="connsiteX33" fmla="*/ 6963 w 10063"/>
                <a:gd name="connsiteY33" fmla="*/ 536 h 10103"/>
                <a:gd name="connsiteX34" fmla="*/ 6832 w 10063"/>
                <a:gd name="connsiteY34" fmla="*/ 645 h 10103"/>
                <a:gd name="connsiteX35" fmla="*/ 6701 w 10063"/>
                <a:gd name="connsiteY35" fmla="*/ 789 h 10103"/>
                <a:gd name="connsiteX36" fmla="*/ 4604 w 10063"/>
                <a:gd name="connsiteY36" fmla="*/ 1403 h 10103"/>
                <a:gd name="connsiteX37" fmla="*/ 1149 w 10063"/>
                <a:gd name="connsiteY37" fmla="*/ 1356 h 10103"/>
                <a:gd name="connsiteX38" fmla="*/ 238 w 10063"/>
                <a:gd name="connsiteY38" fmla="*/ 139 h 10103"/>
                <a:gd name="connsiteX39" fmla="*/ 63 w 10063"/>
                <a:gd name="connsiteY39" fmla="*/ 176 h 10103"/>
                <a:gd name="connsiteX40" fmla="*/ 1155 w 10063"/>
                <a:gd name="connsiteY40" fmla="*/ 1475 h 10103"/>
                <a:gd name="connsiteX41" fmla="*/ 1155 w 10063"/>
                <a:gd name="connsiteY41" fmla="*/ 1475 h 10103"/>
                <a:gd name="connsiteX42" fmla="*/ 1111 w 10063"/>
                <a:gd name="connsiteY42" fmla="*/ 1656 h 10103"/>
                <a:gd name="connsiteX43" fmla="*/ 1111 w 10063"/>
                <a:gd name="connsiteY43" fmla="*/ 1656 h 10103"/>
                <a:gd name="connsiteX44" fmla="*/ 1111 w 10063"/>
                <a:gd name="connsiteY44" fmla="*/ 1800 h 10103"/>
                <a:gd name="connsiteX45" fmla="*/ 1155 w 10063"/>
                <a:gd name="connsiteY45" fmla="*/ 1945 h 10103"/>
                <a:gd name="connsiteX46" fmla="*/ 1286 w 10063"/>
                <a:gd name="connsiteY46" fmla="*/ 2052 h 10103"/>
                <a:gd name="connsiteX47" fmla="*/ 1373 w 10063"/>
                <a:gd name="connsiteY47" fmla="*/ 2089 h 10103"/>
                <a:gd name="connsiteX48" fmla="*/ 1679 w 10063"/>
                <a:gd name="connsiteY48" fmla="*/ 2089 h 10103"/>
                <a:gd name="connsiteX49" fmla="*/ 2159 w 10063"/>
                <a:gd name="connsiteY49" fmla="*/ 2630 h 10103"/>
                <a:gd name="connsiteX50" fmla="*/ 2290 w 10063"/>
                <a:gd name="connsiteY50" fmla="*/ 2558 h 10103"/>
                <a:gd name="connsiteX51" fmla="*/ 1897 w 10063"/>
                <a:gd name="connsiteY51" fmla="*/ 2089 h 10103"/>
                <a:gd name="connsiteX52" fmla="*/ 1897 w 10063"/>
                <a:gd name="connsiteY52" fmla="*/ 2089 h 10103"/>
                <a:gd name="connsiteX53" fmla="*/ 2203 w 10063"/>
                <a:gd name="connsiteY53" fmla="*/ 2486 h 10103"/>
                <a:gd name="connsiteX54" fmla="*/ 2465 w 10063"/>
                <a:gd name="connsiteY54" fmla="*/ 2125 h 10103"/>
                <a:gd name="connsiteX55" fmla="*/ 4692 w 10063"/>
                <a:gd name="connsiteY55" fmla="*/ 2234 h 10103"/>
                <a:gd name="connsiteX56" fmla="*/ 4692 w 10063"/>
                <a:gd name="connsiteY56" fmla="*/ 2234 h 10103"/>
                <a:gd name="connsiteX57" fmla="*/ 4735 w 10063"/>
                <a:gd name="connsiteY57" fmla="*/ 2234 h 10103"/>
                <a:gd name="connsiteX58" fmla="*/ 4779 w 10063"/>
                <a:gd name="connsiteY58" fmla="*/ 2234 h 10103"/>
                <a:gd name="connsiteX59" fmla="*/ 4779 w 10063"/>
                <a:gd name="connsiteY59" fmla="*/ 2234 h 10103"/>
                <a:gd name="connsiteX60" fmla="*/ 4866 w 10063"/>
                <a:gd name="connsiteY60" fmla="*/ 2234 h 10103"/>
                <a:gd name="connsiteX61" fmla="*/ 4910 w 10063"/>
                <a:gd name="connsiteY61" fmla="*/ 2196 h 10103"/>
                <a:gd name="connsiteX62" fmla="*/ 6613 w 10063"/>
                <a:gd name="connsiteY62" fmla="*/ 1692 h 10103"/>
                <a:gd name="connsiteX63" fmla="*/ 7574 w 10063"/>
                <a:gd name="connsiteY63" fmla="*/ 4760 h 10103"/>
                <a:gd name="connsiteX64" fmla="*/ 5827 w 10063"/>
                <a:gd name="connsiteY64" fmla="*/ 4651 h 10103"/>
                <a:gd name="connsiteX65" fmla="*/ 3818 w 10063"/>
                <a:gd name="connsiteY65" fmla="*/ 4544 h 10103"/>
                <a:gd name="connsiteX66" fmla="*/ 3818 w 10063"/>
                <a:gd name="connsiteY66" fmla="*/ 4544 h 10103"/>
                <a:gd name="connsiteX67" fmla="*/ 3644 w 10063"/>
                <a:gd name="connsiteY67" fmla="*/ 4579 h 10103"/>
                <a:gd name="connsiteX68" fmla="*/ 3469 w 10063"/>
                <a:gd name="connsiteY68" fmla="*/ 4651 h 10103"/>
                <a:gd name="connsiteX69" fmla="*/ 3338 w 10063"/>
                <a:gd name="connsiteY69" fmla="*/ 4760 h 10103"/>
                <a:gd name="connsiteX70" fmla="*/ 3207 w 10063"/>
                <a:gd name="connsiteY70" fmla="*/ 4905 h 10103"/>
                <a:gd name="connsiteX71" fmla="*/ 3163 w 10063"/>
                <a:gd name="connsiteY71" fmla="*/ 5157 h 10103"/>
                <a:gd name="connsiteX72" fmla="*/ 3163 w 10063"/>
                <a:gd name="connsiteY72" fmla="*/ 9526 h 10103"/>
                <a:gd name="connsiteX73" fmla="*/ 3163 w 10063"/>
                <a:gd name="connsiteY73" fmla="*/ 9526 h 10103"/>
                <a:gd name="connsiteX74" fmla="*/ 3207 w 10063"/>
                <a:gd name="connsiteY74" fmla="*/ 9634 h 10103"/>
                <a:gd name="connsiteX75" fmla="*/ 3251 w 10063"/>
                <a:gd name="connsiteY75" fmla="*/ 9742 h 10103"/>
                <a:gd name="connsiteX76" fmla="*/ 3294 w 10063"/>
                <a:gd name="connsiteY76" fmla="*/ 9850 h 10103"/>
                <a:gd name="connsiteX77" fmla="*/ 3382 w 10063"/>
                <a:gd name="connsiteY77" fmla="*/ 9923 h 10103"/>
                <a:gd name="connsiteX78" fmla="*/ 3513 w 10063"/>
                <a:gd name="connsiteY78" fmla="*/ 9995 h 10103"/>
                <a:gd name="connsiteX79" fmla="*/ 3600 w 10063"/>
                <a:gd name="connsiteY79" fmla="*/ 10068 h 10103"/>
                <a:gd name="connsiteX80" fmla="*/ 3731 w 10063"/>
                <a:gd name="connsiteY80" fmla="*/ 10103 h 10103"/>
                <a:gd name="connsiteX81" fmla="*/ 3906 w 10063"/>
                <a:gd name="connsiteY81" fmla="*/ 10103 h 10103"/>
                <a:gd name="connsiteX82" fmla="*/ 3906 w 10063"/>
                <a:gd name="connsiteY82" fmla="*/ 10103 h 10103"/>
                <a:gd name="connsiteX83" fmla="*/ 4037 w 10063"/>
                <a:gd name="connsiteY83" fmla="*/ 10103 h 10103"/>
                <a:gd name="connsiteX84" fmla="*/ 4168 w 10063"/>
                <a:gd name="connsiteY84" fmla="*/ 10068 h 10103"/>
                <a:gd name="connsiteX85" fmla="*/ 4299 w 10063"/>
                <a:gd name="connsiteY85" fmla="*/ 9995 h 10103"/>
                <a:gd name="connsiteX86" fmla="*/ 4430 w 10063"/>
                <a:gd name="connsiteY86" fmla="*/ 9923 h 10103"/>
                <a:gd name="connsiteX87" fmla="*/ 4517 w 10063"/>
                <a:gd name="connsiteY87" fmla="*/ 9850 h 10103"/>
                <a:gd name="connsiteX88" fmla="*/ 4561 w 10063"/>
                <a:gd name="connsiteY88" fmla="*/ 9742 h 10103"/>
                <a:gd name="connsiteX89" fmla="*/ 4604 w 10063"/>
                <a:gd name="connsiteY89" fmla="*/ 9634 h 10103"/>
                <a:gd name="connsiteX90" fmla="*/ 4604 w 10063"/>
                <a:gd name="connsiteY90" fmla="*/ 9526 h 10103"/>
                <a:gd name="connsiteX91" fmla="*/ 4604 w 10063"/>
                <a:gd name="connsiteY91" fmla="*/ 5879 h 10103"/>
                <a:gd name="connsiteX92" fmla="*/ 6963 w 10063"/>
                <a:gd name="connsiteY92" fmla="*/ 6132 h 10103"/>
                <a:gd name="connsiteX0" fmla="*/ 6963 w 10063"/>
                <a:gd name="connsiteY0" fmla="*/ 6132 h 10103"/>
                <a:gd name="connsiteX1" fmla="*/ 6963 w 10063"/>
                <a:gd name="connsiteY1" fmla="*/ 6132 h 10103"/>
                <a:gd name="connsiteX2" fmla="*/ 8142 w 10063"/>
                <a:gd name="connsiteY2" fmla="*/ 6240 h 10103"/>
                <a:gd name="connsiteX3" fmla="*/ 8884 w 10063"/>
                <a:gd name="connsiteY3" fmla="*/ 6313 h 10103"/>
                <a:gd name="connsiteX4" fmla="*/ 8884 w 10063"/>
                <a:gd name="connsiteY4" fmla="*/ 6313 h 10103"/>
                <a:gd name="connsiteX5" fmla="*/ 9059 w 10063"/>
                <a:gd name="connsiteY5" fmla="*/ 6313 h 10103"/>
                <a:gd name="connsiteX6" fmla="*/ 9233 w 10063"/>
                <a:gd name="connsiteY6" fmla="*/ 6277 h 10103"/>
                <a:gd name="connsiteX7" fmla="*/ 9233 w 10063"/>
                <a:gd name="connsiteY7" fmla="*/ 6277 h 10103"/>
                <a:gd name="connsiteX8" fmla="*/ 9539 w 10063"/>
                <a:gd name="connsiteY8" fmla="*/ 6168 h 10103"/>
                <a:gd name="connsiteX9" fmla="*/ 9539 w 10063"/>
                <a:gd name="connsiteY9" fmla="*/ 6168 h 10103"/>
                <a:gd name="connsiteX10" fmla="*/ 9539 w 10063"/>
                <a:gd name="connsiteY10" fmla="*/ 6168 h 10103"/>
                <a:gd name="connsiteX11" fmla="*/ 9539 w 10063"/>
                <a:gd name="connsiteY11" fmla="*/ 6168 h 10103"/>
                <a:gd name="connsiteX12" fmla="*/ 9539 w 10063"/>
                <a:gd name="connsiteY12" fmla="*/ 6168 h 10103"/>
                <a:gd name="connsiteX13" fmla="*/ 9670 w 10063"/>
                <a:gd name="connsiteY13" fmla="*/ 6096 h 10103"/>
                <a:gd name="connsiteX14" fmla="*/ 9801 w 10063"/>
                <a:gd name="connsiteY14" fmla="*/ 5951 h 10103"/>
                <a:gd name="connsiteX15" fmla="*/ 9888 w 10063"/>
                <a:gd name="connsiteY15" fmla="*/ 5844 h 10103"/>
                <a:gd name="connsiteX16" fmla="*/ 9976 w 10063"/>
                <a:gd name="connsiteY16" fmla="*/ 5662 h 10103"/>
                <a:gd name="connsiteX17" fmla="*/ 10019 w 10063"/>
                <a:gd name="connsiteY17" fmla="*/ 5517 h 10103"/>
                <a:gd name="connsiteX18" fmla="*/ 10063 w 10063"/>
                <a:gd name="connsiteY18" fmla="*/ 5337 h 10103"/>
                <a:gd name="connsiteX19" fmla="*/ 10063 w 10063"/>
                <a:gd name="connsiteY19" fmla="*/ 5157 h 10103"/>
                <a:gd name="connsiteX20" fmla="*/ 10019 w 10063"/>
                <a:gd name="connsiteY20" fmla="*/ 4978 h 10103"/>
                <a:gd name="connsiteX21" fmla="*/ 8797 w 10063"/>
                <a:gd name="connsiteY21" fmla="*/ 1185 h 10103"/>
                <a:gd name="connsiteX22" fmla="*/ 8797 w 10063"/>
                <a:gd name="connsiteY22" fmla="*/ 1185 h 10103"/>
                <a:gd name="connsiteX23" fmla="*/ 8709 w 10063"/>
                <a:gd name="connsiteY23" fmla="*/ 969 h 10103"/>
                <a:gd name="connsiteX24" fmla="*/ 8578 w 10063"/>
                <a:gd name="connsiteY24" fmla="*/ 789 h 10103"/>
                <a:gd name="connsiteX25" fmla="*/ 8404 w 10063"/>
                <a:gd name="connsiteY25" fmla="*/ 608 h 10103"/>
                <a:gd name="connsiteX26" fmla="*/ 8229 w 10063"/>
                <a:gd name="connsiteY26" fmla="*/ 500 h 10103"/>
                <a:gd name="connsiteX27" fmla="*/ 8011 w 10063"/>
                <a:gd name="connsiteY27" fmla="*/ 392 h 10103"/>
                <a:gd name="connsiteX28" fmla="*/ 7792 w 10063"/>
                <a:gd name="connsiteY28" fmla="*/ 356 h 10103"/>
                <a:gd name="connsiteX29" fmla="*/ 7574 w 10063"/>
                <a:gd name="connsiteY29" fmla="*/ 319 h 10103"/>
                <a:gd name="connsiteX30" fmla="*/ 7356 w 10063"/>
                <a:gd name="connsiteY30" fmla="*/ 356 h 10103"/>
                <a:gd name="connsiteX31" fmla="*/ 7356 w 10063"/>
                <a:gd name="connsiteY31" fmla="*/ 356 h 10103"/>
                <a:gd name="connsiteX32" fmla="*/ 7137 w 10063"/>
                <a:gd name="connsiteY32" fmla="*/ 427 h 10103"/>
                <a:gd name="connsiteX33" fmla="*/ 6963 w 10063"/>
                <a:gd name="connsiteY33" fmla="*/ 536 h 10103"/>
                <a:gd name="connsiteX34" fmla="*/ 6832 w 10063"/>
                <a:gd name="connsiteY34" fmla="*/ 645 h 10103"/>
                <a:gd name="connsiteX35" fmla="*/ 6701 w 10063"/>
                <a:gd name="connsiteY35" fmla="*/ 789 h 10103"/>
                <a:gd name="connsiteX36" fmla="*/ 4604 w 10063"/>
                <a:gd name="connsiteY36" fmla="*/ 1403 h 10103"/>
                <a:gd name="connsiteX37" fmla="*/ 1149 w 10063"/>
                <a:gd name="connsiteY37" fmla="*/ 1356 h 10103"/>
                <a:gd name="connsiteX38" fmla="*/ 238 w 10063"/>
                <a:gd name="connsiteY38" fmla="*/ 139 h 10103"/>
                <a:gd name="connsiteX39" fmla="*/ 63 w 10063"/>
                <a:gd name="connsiteY39" fmla="*/ 176 h 10103"/>
                <a:gd name="connsiteX40" fmla="*/ 1155 w 10063"/>
                <a:gd name="connsiteY40" fmla="*/ 1475 h 10103"/>
                <a:gd name="connsiteX41" fmla="*/ 1155 w 10063"/>
                <a:gd name="connsiteY41" fmla="*/ 1475 h 10103"/>
                <a:gd name="connsiteX42" fmla="*/ 1111 w 10063"/>
                <a:gd name="connsiteY42" fmla="*/ 1656 h 10103"/>
                <a:gd name="connsiteX43" fmla="*/ 1111 w 10063"/>
                <a:gd name="connsiteY43" fmla="*/ 1656 h 10103"/>
                <a:gd name="connsiteX44" fmla="*/ 1111 w 10063"/>
                <a:gd name="connsiteY44" fmla="*/ 1800 h 10103"/>
                <a:gd name="connsiteX45" fmla="*/ 1155 w 10063"/>
                <a:gd name="connsiteY45" fmla="*/ 1945 h 10103"/>
                <a:gd name="connsiteX46" fmla="*/ 1286 w 10063"/>
                <a:gd name="connsiteY46" fmla="*/ 2052 h 10103"/>
                <a:gd name="connsiteX47" fmla="*/ 1373 w 10063"/>
                <a:gd name="connsiteY47" fmla="*/ 2089 h 10103"/>
                <a:gd name="connsiteX48" fmla="*/ 1679 w 10063"/>
                <a:gd name="connsiteY48" fmla="*/ 2089 h 10103"/>
                <a:gd name="connsiteX49" fmla="*/ 2159 w 10063"/>
                <a:gd name="connsiteY49" fmla="*/ 2630 h 10103"/>
                <a:gd name="connsiteX50" fmla="*/ 2290 w 10063"/>
                <a:gd name="connsiteY50" fmla="*/ 2558 h 10103"/>
                <a:gd name="connsiteX51" fmla="*/ 1897 w 10063"/>
                <a:gd name="connsiteY51" fmla="*/ 2089 h 10103"/>
                <a:gd name="connsiteX52" fmla="*/ 1897 w 10063"/>
                <a:gd name="connsiteY52" fmla="*/ 2089 h 10103"/>
                <a:gd name="connsiteX53" fmla="*/ 2465 w 10063"/>
                <a:gd name="connsiteY53" fmla="*/ 2125 h 10103"/>
                <a:gd name="connsiteX54" fmla="*/ 4692 w 10063"/>
                <a:gd name="connsiteY54" fmla="*/ 2234 h 10103"/>
                <a:gd name="connsiteX55" fmla="*/ 4692 w 10063"/>
                <a:gd name="connsiteY55" fmla="*/ 2234 h 10103"/>
                <a:gd name="connsiteX56" fmla="*/ 4735 w 10063"/>
                <a:gd name="connsiteY56" fmla="*/ 2234 h 10103"/>
                <a:gd name="connsiteX57" fmla="*/ 4779 w 10063"/>
                <a:gd name="connsiteY57" fmla="*/ 2234 h 10103"/>
                <a:gd name="connsiteX58" fmla="*/ 4779 w 10063"/>
                <a:gd name="connsiteY58" fmla="*/ 2234 h 10103"/>
                <a:gd name="connsiteX59" fmla="*/ 4866 w 10063"/>
                <a:gd name="connsiteY59" fmla="*/ 2234 h 10103"/>
                <a:gd name="connsiteX60" fmla="*/ 4910 w 10063"/>
                <a:gd name="connsiteY60" fmla="*/ 2196 h 10103"/>
                <a:gd name="connsiteX61" fmla="*/ 6613 w 10063"/>
                <a:gd name="connsiteY61" fmla="*/ 1692 h 10103"/>
                <a:gd name="connsiteX62" fmla="*/ 7574 w 10063"/>
                <a:gd name="connsiteY62" fmla="*/ 4760 h 10103"/>
                <a:gd name="connsiteX63" fmla="*/ 5827 w 10063"/>
                <a:gd name="connsiteY63" fmla="*/ 4651 h 10103"/>
                <a:gd name="connsiteX64" fmla="*/ 3818 w 10063"/>
                <a:gd name="connsiteY64" fmla="*/ 4544 h 10103"/>
                <a:gd name="connsiteX65" fmla="*/ 3818 w 10063"/>
                <a:gd name="connsiteY65" fmla="*/ 4544 h 10103"/>
                <a:gd name="connsiteX66" fmla="*/ 3644 w 10063"/>
                <a:gd name="connsiteY66" fmla="*/ 4579 h 10103"/>
                <a:gd name="connsiteX67" fmla="*/ 3469 w 10063"/>
                <a:gd name="connsiteY67" fmla="*/ 4651 h 10103"/>
                <a:gd name="connsiteX68" fmla="*/ 3338 w 10063"/>
                <a:gd name="connsiteY68" fmla="*/ 4760 h 10103"/>
                <a:gd name="connsiteX69" fmla="*/ 3207 w 10063"/>
                <a:gd name="connsiteY69" fmla="*/ 4905 h 10103"/>
                <a:gd name="connsiteX70" fmla="*/ 3163 w 10063"/>
                <a:gd name="connsiteY70" fmla="*/ 5157 h 10103"/>
                <a:gd name="connsiteX71" fmla="*/ 3163 w 10063"/>
                <a:gd name="connsiteY71" fmla="*/ 9526 h 10103"/>
                <a:gd name="connsiteX72" fmla="*/ 3163 w 10063"/>
                <a:gd name="connsiteY72" fmla="*/ 9526 h 10103"/>
                <a:gd name="connsiteX73" fmla="*/ 3207 w 10063"/>
                <a:gd name="connsiteY73" fmla="*/ 9634 h 10103"/>
                <a:gd name="connsiteX74" fmla="*/ 3251 w 10063"/>
                <a:gd name="connsiteY74" fmla="*/ 9742 h 10103"/>
                <a:gd name="connsiteX75" fmla="*/ 3294 w 10063"/>
                <a:gd name="connsiteY75" fmla="*/ 9850 h 10103"/>
                <a:gd name="connsiteX76" fmla="*/ 3382 w 10063"/>
                <a:gd name="connsiteY76" fmla="*/ 9923 h 10103"/>
                <a:gd name="connsiteX77" fmla="*/ 3513 w 10063"/>
                <a:gd name="connsiteY77" fmla="*/ 9995 h 10103"/>
                <a:gd name="connsiteX78" fmla="*/ 3600 w 10063"/>
                <a:gd name="connsiteY78" fmla="*/ 10068 h 10103"/>
                <a:gd name="connsiteX79" fmla="*/ 3731 w 10063"/>
                <a:gd name="connsiteY79" fmla="*/ 10103 h 10103"/>
                <a:gd name="connsiteX80" fmla="*/ 3906 w 10063"/>
                <a:gd name="connsiteY80" fmla="*/ 10103 h 10103"/>
                <a:gd name="connsiteX81" fmla="*/ 3906 w 10063"/>
                <a:gd name="connsiteY81" fmla="*/ 10103 h 10103"/>
                <a:gd name="connsiteX82" fmla="*/ 4037 w 10063"/>
                <a:gd name="connsiteY82" fmla="*/ 10103 h 10103"/>
                <a:gd name="connsiteX83" fmla="*/ 4168 w 10063"/>
                <a:gd name="connsiteY83" fmla="*/ 10068 h 10103"/>
                <a:gd name="connsiteX84" fmla="*/ 4299 w 10063"/>
                <a:gd name="connsiteY84" fmla="*/ 9995 h 10103"/>
                <a:gd name="connsiteX85" fmla="*/ 4430 w 10063"/>
                <a:gd name="connsiteY85" fmla="*/ 9923 h 10103"/>
                <a:gd name="connsiteX86" fmla="*/ 4517 w 10063"/>
                <a:gd name="connsiteY86" fmla="*/ 9850 h 10103"/>
                <a:gd name="connsiteX87" fmla="*/ 4561 w 10063"/>
                <a:gd name="connsiteY87" fmla="*/ 9742 h 10103"/>
                <a:gd name="connsiteX88" fmla="*/ 4604 w 10063"/>
                <a:gd name="connsiteY88" fmla="*/ 9634 h 10103"/>
                <a:gd name="connsiteX89" fmla="*/ 4604 w 10063"/>
                <a:gd name="connsiteY89" fmla="*/ 9526 h 10103"/>
                <a:gd name="connsiteX90" fmla="*/ 4604 w 10063"/>
                <a:gd name="connsiteY90" fmla="*/ 5879 h 10103"/>
                <a:gd name="connsiteX91" fmla="*/ 6963 w 10063"/>
                <a:gd name="connsiteY91" fmla="*/ 6132 h 10103"/>
                <a:gd name="connsiteX0" fmla="*/ 6963 w 10063"/>
                <a:gd name="connsiteY0" fmla="*/ 6132 h 10103"/>
                <a:gd name="connsiteX1" fmla="*/ 6963 w 10063"/>
                <a:gd name="connsiteY1" fmla="*/ 6132 h 10103"/>
                <a:gd name="connsiteX2" fmla="*/ 8142 w 10063"/>
                <a:gd name="connsiteY2" fmla="*/ 6240 h 10103"/>
                <a:gd name="connsiteX3" fmla="*/ 8884 w 10063"/>
                <a:gd name="connsiteY3" fmla="*/ 6313 h 10103"/>
                <a:gd name="connsiteX4" fmla="*/ 8884 w 10063"/>
                <a:gd name="connsiteY4" fmla="*/ 6313 h 10103"/>
                <a:gd name="connsiteX5" fmla="*/ 9059 w 10063"/>
                <a:gd name="connsiteY5" fmla="*/ 6313 h 10103"/>
                <a:gd name="connsiteX6" fmla="*/ 9233 w 10063"/>
                <a:gd name="connsiteY6" fmla="*/ 6277 h 10103"/>
                <a:gd name="connsiteX7" fmla="*/ 9233 w 10063"/>
                <a:gd name="connsiteY7" fmla="*/ 6277 h 10103"/>
                <a:gd name="connsiteX8" fmla="*/ 9539 w 10063"/>
                <a:gd name="connsiteY8" fmla="*/ 6168 h 10103"/>
                <a:gd name="connsiteX9" fmla="*/ 9539 w 10063"/>
                <a:gd name="connsiteY9" fmla="*/ 6168 h 10103"/>
                <a:gd name="connsiteX10" fmla="*/ 9539 w 10063"/>
                <a:gd name="connsiteY10" fmla="*/ 6168 h 10103"/>
                <a:gd name="connsiteX11" fmla="*/ 9539 w 10063"/>
                <a:gd name="connsiteY11" fmla="*/ 6168 h 10103"/>
                <a:gd name="connsiteX12" fmla="*/ 9539 w 10063"/>
                <a:gd name="connsiteY12" fmla="*/ 6168 h 10103"/>
                <a:gd name="connsiteX13" fmla="*/ 9670 w 10063"/>
                <a:gd name="connsiteY13" fmla="*/ 6096 h 10103"/>
                <a:gd name="connsiteX14" fmla="*/ 9801 w 10063"/>
                <a:gd name="connsiteY14" fmla="*/ 5951 h 10103"/>
                <a:gd name="connsiteX15" fmla="*/ 9888 w 10063"/>
                <a:gd name="connsiteY15" fmla="*/ 5844 h 10103"/>
                <a:gd name="connsiteX16" fmla="*/ 9976 w 10063"/>
                <a:gd name="connsiteY16" fmla="*/ 5662 h 10103"/>
                <a:gd name="connsiteX17" fmla="*/ 10019 w 10063"/>
                <a:gd name="connsiteY17" fmla="*/ 5517 h 10103"/>
                <a:gd name="connsiteX18" fmla="*/ 10063 w 10063"/>
                <a:gd name="connsiteY18" fmla="*/ 5337 h 10103"/>
                <a:gd name="connsiteX19" fmla="*/ 10063 w 10063"/>
                <a:gd name="connsiteY19" fmla="*/ 5157 h 10103"/>
                <a:gd name="connsiteX20" fmla="*/ 10019 w 10063"/>
                <a:gd name="connsiteY20" fmla="*/ 4978 h 10103"/>
                <a:gd name="connsiteX21" fmla="*/ 8797 w 10063"/>
                <a:gd name="connsiteY21" fmla="*/ 1185 h 10103"/>
                <a:gd name="connsiteX22" fmla="*/ 8797 w 10063"/>
                <a:gd name="connsiteY22" fmla="*/ 1185 h 10103"/>
                <a:gd name="connsiteX23" fmla="*/ 8709 w 10063"/>
                <a:gd name="connsiteY23" fmla="*/ 969 h 10103"/>
                <a:gd name="connsiteX24" fmla="*/ 8578 w 10063"/>
                <a:gd name="connsiteY24" fmla="*/ 789 h 10103"/>
                <a:gd name="connsiteX25" fmla="*/ 8404 w 10063"/>
                <a:gd name="connsiteY25" fmla="*/ 608 h 10103"/>
                <a:gd name="connsiteX26" fmla="*/ 8229 w 10063"/>
                <a:gd name="connsiteY26" fmla="*/ 500 h 10103"/>
                <a:gd name="connsiteX27" fmla="*/ 8011 w 10063"/>
                <a:gd name="connsiteY27" fmla="*/ 392 h 10103"/>
                <a:gd name="connsiteX28" fmla="*/ 7792 w 10063"/>
                <a:gd name="connsiteY28" fmla="*/ 356 h 10103"/>
                <a:gd name="connsiteX29" fmla="*/ 7574 w 10063"/>
                <a:gd name="connsiteY29" fmla="*/ 319 h 10103"/>
                <a:gd name="connsiteX30" fmla="*/ 7356 w 10063"/>
                <a:gd name="connsiteY30" fmla="*/ 356 h 10103"/>
                <a:gd name="connsiteX31" fmla="*/ 7356 w 10063"/>
                <a:gd name="connsiteY31" fmla="*/ 356 h 10103"/>
                <a:gd name="connsiteX32" fmla="*/ 7137 w 10063"/>
                <a:gd name="connsiteY32" fmla="*/ 427 h 10103"/>
                <a:gd name="connsiteX33" fmla="*/ 6963 w 10063"/>
                <a:gd name="connsiteY33" fmla="*/ 536 h 10103"/>
                <a:gd name="connsiteX34" fmla="*/ 6832 w 10063"/>
                <a:gd name="connsiteY34" fmla="*/ 645 h 10103"/>
                <a:gd name="connsiteX35" fmla="*/ 6701 w 10063"/>
                <a:gd name="connsiteY35" fmla="*/ 789 h 10103"/>
                <a:gd name="connsiteX36" fmla="*/ 4604 w 10063"/>
                <a:gd name="connsiteY36" fmla="*/ 1403 h 10103"/>
                <a:gd name="connsiteX37" fmla="*/ 1149 w 10063"/>
                <a:gd name="connsiteY37" fmla="*/ 1356 h 10103"/>
                <a:gd name="connsiteX38" fmla="*/ 238 w 10063"/>
                <a:gd name="connsiteY38" fmla="*/ 139 h 10103"/>
                <a:gd name="connsiteX39" fmla="*/ 63 w 10063"/>
                <a:gd name="connsiteY39" fmla="*/ 176 h 10103"/>
                <a:gd name="connsiteX40" fmla="*/ 1155 w 10063"/>
                <a:gd name="connsiteY40" fmla="*/ 1475 h 10103"/>
                <a:gd name="connsiteX41" fmla="*/ 1155 w 10063"/>
                <a:gd name="connsiteY41" fmla="*/ 1475 h 10103"/>
                <a:gd name="connsiteX42" fmla="*/ 1111 w 10063"/>
                <a:gd name="connsiteY42" fmla="*/ 1656 h 10103"/>
                <a:gd name="connsiteX43" fmla="*/ 1111 w 10063"/>
                <a:gd name="connsiteY43" fmla="*/ 1656 h 10103"/>
                <a:gd name="connsiteX44" fmla="*/ 1111 w 10063"/>
                <a:gd name="connsiteY44" fmla="*/ 1800 h 10103"/>
                <a:gd name="connsiteX45" fmla="*/ 1155 w 10063"/>
                <a:gd name="connsiteY45" fmla="*/ 1945 h 10103"/>
                <a:gd name="connsiteX46" fmla="*/ 1286 w 10063"/>
                <a:gd name="connsiteY46" fmla="*/ 2052 h 10103"/>
                <a:gd name="connsiteX47" fmla="*/ 1373 w 10063"/>
                <a:gd name="connsiteY47" fmla="*/ 2089 h 10103"/>
                <a:gd name="connsiteX48" fmla="*/ 1679 w 10063"/>
                <a:gd name="connsiteY48" fmla="*/ 2089 h 10103"/>
                <a:gd name="connsiteX49" fmla="*/ 2159 w 10063"/>
                <a:gd name="connsiteY49" fmla="*/ 2630 h 10103"/>
                <a:gd name="connsiteX50" fmla="*/ 1897 w 10063"/>
                <a:gd name="connsiteY50" fmla="*/ 2089 h 10103"/>
                <a:gd name="connsiteX51" fmla="*/ 1897 w 10063"/>
                <a:gd name="connsiteY51" fmla="*/ 2089 h 10103"/>
                <a:gd name="connsiteX52" fmla="*/ 2465 w 10063"/>
                <a:gd name="connsiteY52" fmla="*/ 2125 h 10103"/>
                <a:gd name="connsiteX53" fmla="*/ 4692 w 10063"/>
                <a:gd name="connsiteY53" fmla="*/ 2234 h 10103"/>
                <a:gd name="connsiteX54" fmla="*/ 4692 w 10063"/>
                <a:gd name="connsiteY54" fmla="*/ 2234 h 10103"/>
                <a:gd name="connsiteX55" fmla="*/ 4735 w 10063"/>
                <a:gd name="connsiteY55" fmla="*/ 2234 h 10103"/>
                <a:gd name="connsiteX56" fmla="*/ 4779 w 10063"/>
                <a:gd name="connsiteY56" fmla="*/ 2234 h 10103"/>
                <a:gd name="connsiteX57" fmla="*/ 4779 w 10063"/>
                <a:gd name="connsiteY57" fmla="*/ 2234 h 10103"/>
                <a:gd name="connsiteX58" fmla="*/ 4866 w 10063"/>
                <a:gd name="connsiteY58" fmla="*/ 2234 h 10103"/>
                <a:gd name="connsiteX59" fmla="*/ 4910 w 10063"/>
                <a:gd name="connsiteY59" fmla="*/ 2196 h 10103"/>
                <a:gd name="connsiteX60" fmla="*/ 6613 w 10063"/>
                <a:gd name="connsiteY60" fmla="*/ 1692 h 10103"/>
                <a:gd name="connsiteX61" fmla="*/ 7574 w 10063"/>
                <a:gd name="connsiteY61" fmla="*/ 4760 h 10103"/>
                <a:gd name="connsiteX62" fmla="*/ 5827 w 10063"/>
                <a:gd name="connsiteY62" fmla="*/ 4651 h 10103"/>
                <a:gd name="connsiteX63" fmla="*/ 3818 w 10063"/>
                <a:gd name="connsiteY63" fmla="*/ 4544 h 10103"/>
                <a:gd name="connsiteX64" fmla="*/ 3818 w 10063"/>
                <a:gd name="connsiteY64" fmla="*/ 4544 h 10103"/>
                <a:gd name="connsiteX65" fmla="*/ 3644 w 10063"/>
                <a:gd name="connsiteY65" fmla="*/ 4579 h 10103"/>
                <a:gd name="connsiteX66" fmla="*/ 3469 w 10063"/>
                <a:gd name="connsiteY66" fmla="*/ 4651 h 10103"/>
                <a:gd name="connsiteX67" fmla="*/ 3338 w 10063"/>
                <a:gd name="connsiteY67" fmla="*/ 4760 h 10103"/>
                <a:gd name="connsiteX68" fmla="*/ 3207 w 10063"/>
                <a:gd name="connsiteY68" fmla="*/ 4905 h 10103"/>
                <a:gd name="connsiteX69" fmla="*/ 3163 w 10063"/>
                <a:gd name="connsiteY69" fmla="*/ 5157 h 10103"/>
                <a:gd name="connsiteX70" fmla="*/ 3163 w 10063"/>
                <a:gd name="connsiteY70" fmla="*/ 9526 h 10103"/>
                <a:gd name="connsiteX71" fmla="*/ 3163 w 10063"/>
                <a:gd name="connsiteY71" fmla="*/ 9526 h 10103"/>
                <a:gd name="connsiteX72" fmla="*/ 3207 w 10063"/>
                <a:gd name="connsiteY72" fmla="*/ 9634 h 10103"/>
                <a:gd name="connsiteX73" fmla="*/ 3251 w 10063"/>
                <a:gd name="connsiteY73" fmla="*/ 9742 h 10103"/>
                <a:gd name="connsiteX74" fmla="*/ 3294 w 10063"/>
                <a:gd name="connsiteY74" fmla="*/ 9850 h 10103"/>
                <a:gd name="connsiteX75" fmla="*/ 3382 w 10063"/>
                <a:gd name="connsiteY75" fmla="*/ 9923 h 10103"/>
                <a:gd name="connsiteX76" fmla="*/ 3513 w 10063"/>
                <a:gd name="connsiteY76" fmla="*/ 9995 h 10103"/>
                <a:gd name="connsiteX77" fmla="*/ 3600 w 10063"/>
                <a:gd name="connsiteY77" fmla="*/ 10068 h 10103"/>
                <a:gd name="connsiteX78" fmla="*/ 3731 w 10063"/>
                <a:gd name="connsiteY78" fmla="*/ 10103 h 10103"/>
                <a:gd name="connsiteX79" fmla="*/ 3906 w 10063"/>
                <a:gd name="connsiteY79" fmla="*/ 10103 h 10103"/>
                <a:gd name="connsiteX80" fmla="*/ 3906 w 10063"/>
                <a:gd name="connsiteY80" fmla="*/ 10103 h 10103"/>
                <a:gd name="connsiteX81" fmla="*/ 4037 w 10063"/>
                <a:gd name="connsiteY81" fmla="*/ 10103 h 10103"/>
                <a:gd name="connsiteX82" fmla="*/ 4168 w 10063"/>
                <a:gd name="connsiteY82" fmla="*/ 10068 h 10103"/>
                <a:gd name="connsiteX83" fmla="*/ 4299 w 10063"/>
                <a:gd name="connsiteY83" fmla="*/ 9995 h 10103"/>
                <a:gd name="connsiteX84" fmla="*/ 4430 w 10063"/>
                <a:gd name="connsiteY84" fmla="*/ 9923 h 10103"/>
                <a:gd name="connsiteX85" fmla="*/ 4517 w 10063"/>
                <a:gd name="connsiteY85" fmla="*/ 9850 h 10103"/>
                <a:gd name="connsiteX86" fmla="*/ 4561 w 10063"/>
                <a:gd name="connsiteY86" fmla="*/ 9742 h 10103"/>
                <a:gd name="connsiteX87" fmla="*/ 4604 w 10063"/>
                <a:gd name="connsiteY87" fmla="*/ 9634 h 10103"/>
                <a:gd name="connsiteX88" fmla="*/ 4604 w 10063"/>
                <a:gd name="connsiteY88" fmla="*/ 9526 h 10103"/>
                <a:gd name="connsiteX89" fmla="*/ 4604 w 10063"/>
                <a:gd name="connsiteY89" fmla="*/ 5879 h 10103"/>
                <a:gd name="connsiteX90" fmla="*/ 6963 w 10063"/>
                <a:gd name="connsiteY90" fmla="*/ 6132 h 10103"/>
                <a:gd name="connsiteX0" fmla="*/ 6963 w 10063"/>
                <a:gd name="connsiteY0" fmla="*/ 6132 h 10103"/>
                <a:gd name="connsiteX1" fmla="*/ 6963 w 10063"/>
                <a:gd name="connsiteY1" fmla="*/ 6132 h 10103"/>
                <a:gd name="connsiteX2" fmla="*/ 8142 w 10063"/>
                <a:gd name="connsiteY2" fmla="*/ 6240 h 10103"/>
                <a:gd name="connsiteX3" fmla="*/ 8884 w 10063"/>
                <a:gd name="connsiteY3" fmla="*/ 6313 h 10103"/>
                <a:gd name="connsiteX4" fmla="*/ 8884 w 10063"/>
                <a:gd name="connsiteY4" fmla="*/ 6313 h 10103"/>
                <a:gd name="connsiteX5" fmla="*/ 9059 w 10063"/>
                <a:gd name="connsiteY5" fmla="*/ 6313 h 10103"/>
                <a:gd name="connsiteX6" fmla="*/ 9233 w 10063"/>
                <a:gd name="connsiteY6" fmla="*/ 6277 h 10103"/>
                <a:gd name="connsiteX7" fmla="*/ 9233 w 10063"/>
                <a:gd name="connsiteY7" fmla="*/ 6277 h 10103"/>
                <a:gd name="connsiteX8" fmla="*/ 9539 w 10063"/>
                <a:gd name="connsiteY8" fmla="*/ 6168 h 10103"/>
                <a:gd name="connsiteX9" fmla="*/ 9539 w 10063"/>
                <a:gd name="connsiteY9" fmla="*/ 6168 h 10103"/>
                <a:gd name="connsiteX10" fmla="*/ 9539 w 10063"/>
                <a:gd name="connsiteY10" fmla="*/ 6168 h 10103"/>
                <a:gd name="connsiteX11" fmla="*/ 9539 w 10063"/>
                <a:gd name="connsiteY11" fmla="*/ 6168 h 10103"/>
                <a:gd name="connsiteX12" fmla="*/ 9539 w 10063"/>
                <a:gd name="connsiteY12" fmla="*/ 6168 h 10103"/>
                <a:gd name="connsiteX13" fmla="*/ 9670 w 10063"/>
                <a:gd name="connsiteY13" fmla="*/ 6096 h 10103"/>
                <a:gd name="connsiteX14" fmla="*/ 9801 w 10063"/>
                <a:gd name="connsiteY14" fmla="*/ 5951 h 10103"/>
                <a:gd name="connsiteX15" fmla="*/ 9888 w 10063"/>
                <a:gd name="connsiteY15" fmla="*/ 5844 h 10103"/>
                <a:gd name="connsiteX16" fmla="*/ 9976 w 10063"/>
                <a:gd name="connsiteY16" fmla="*/ 5662 h 10103"/>
                <a:gd name="connsiteX17" fmla="*/ 10019 w 10063"/>
                <a:gd name="connsiteY17" fmla="*/ 5517 h 10103"/>
                <a:gd name="connsiteX18" fmla="*/ 10063 w 10063"/>
                <a:gd name="connsiteY18" fmla="*/ 5337 h 10103"/>
                <a:gd name="connsiteX19" fmla="*/ 10063 w 10063"/>
                <a:gd name="connsiteY19" fmla="*/ 5157 h 10103"/>
                <a:gd name="connsiteX20" fmla="*/ 10019 w 10063"/>
                <a:gd name="connsiteY20" fmla="*/ 4978 h 10103"/>
                <a:gd name="connsiteX21" fmla="*/ 8797 w 10063"/>
                <a:gd name="connsiteY21" fmla="*/ 1185 h 10103"/>
                <a:gd name="connsiteX22" fmla="*/ 8797 w 10063"/>
                <a:gd name="connsiteY22" fmla="*/ 1185 h 10103"/>
                <a:gd name="connsiteX23" fmla="*/ 8709 w 10063"/>
                <a:gd name="connsiteY23" fmla="*/ 969 h 10103"/>
                <a:gd name="connsiteX24" fmla="*/ 8578 w 10063"/>
                <a:gd name="connsiteY24" fmla="*/ 789 h 10103"/>
                <a:gd name="connsiteX25" fmla="*/ 8404 w 10063"/>
                <a:gd name="connsiteY25" fmla="*/ 608 h 10103"/>
                <a:gd name="connsiteX26" fmla="*/ 8229 w 10063"/>
                <a:gd name="connsiteY26" fmla="*/ 500 h 10103"/>
                <a:gd name="connsiteX27" fmla="*/ 8011 w 10063"/>
                <a:gd name="connsiteY27" fmla="*/ 392 h 10103"/>
                <a:gd name="connsiteX28" fmla="*/ 7792 w 10063"/>
                <a:gd name="connsiteY28" fmla="*/ 356 h 10103"/>
                <a:gd name="connsiteX29" fmla="*/ 7574 w 10063"/>
                <a:gd name="connsiteY29" fmla="*/ 319 h 10103"/>
                <a:gd name="connsiteX30" fmla="*/ 7356 w 10063"/>
                <a:gd name="connsiteY30" fmla="*/ 356 h 10103"/>
                <a:gd name="connsiteX31" fmla="*/ 7356 w 10063"/>
                <a:gd name="connsiteY31" fmla="*/ 356 h 10103"/>
                <a:gd name="connsiteX32" fmla="*/ 7137 w 10063"/>
                <a:gd name="connsiteY32" fmla="*/ 427 h 10103"/>
                <a:gd name="connsiteX33" fmla="*/ 6963 w 10063"/>
                <a:gd name="connsiteY33" fmla="*/ 536 h 10103"/>
                <a:gd name="connsiteX34" fmla="*/ 6832 w 10063"/>
                <a:gd name="connsiteY34" fmla="*/ 645 h 10103"/>
                <a:gd name="connsiteX35" fmla="*/ 6701 w 10063"/>
                <a:gd name="connsiteY35" fmla="*/ 789 h 10103"/>
                <a:gd name="connsiteX36" fmla="*/ 4604 w 10063"/>
                <a:gd name="connsiteY36" fmla="*/ 1403 h 10103"/>
                <a:gd name="connsiteX37" fmla="*/ 1149 w 10063"/>
                <a:gd name="connsiteY37" fmla="*/ 1356 h 10103"/>
                <a:gd name="connsiteX38" fmla="*/ 238 w 10063"/>
                <a:gd name="connsiteY38" fmla="*/ 139 h 10103"/>
                <a:gd name="connsiteX39" fmla="*/ 63 w 10063"/>
                <a:gd name="connsiteY39" fmla="*/ 176 h 10103"/>
                <a:gd name="connsiteX40" fmla="*/ 1155 w 10063"/>
                <a:gd name="connsiteY40" fmla="*/ 1475 h 10103"/>
                <a:gd name="connsiteX41" fmla="*/ 1155 w 10063"/>
                <a:gd name="connsiteY41" fmla="*/ 1475 h 10103"/>
                <a:gd name="connsiteX42" fmla="*/ 1111 w 10063"/>
                <a:gd name="connsiteY42" fmla="*/ 1656 h 10103"/>
                <a:gd name="connsiteX43" fmla="*/ 1111 w 10063"/>
                <a:gd name="connsiteY43" fmla="*/ 1656 h 10103"/>
                <a:gd name="connsiteX44" fmla="*/ 1111 w 10063"/>
                <a:gd name="connsiteY44" fmla="*/ 1800 h 10103"/>
                <a:gd name="connsiteX45" fmla="*/ 1155 w 10063"/>
                <a:gd name="connsiteY45" fmla="*/ 1945 h 10103"/>
                <a:gd name="connsiteX46" fmla="*/ 1286 w 10063"/>
                <a:gd name="connsiteY46" fmla="*/ 2052 h 10103"/>
                <a:gd name="connsiteX47" fmla="*/ 1373 w 10063"/>
                <a:gd name="connsiteY47" fmla="*/ 2089 h 10103"/>
                <a:gd name="connsiteX48" fmla="*/ 1679 w 10063"/>
                <a:gd name="connsiteY48" fmla="*/ 2089 h 10103"/>
                <a:gd name="connsiteX49" fmla="*/ 1897 w 10063"/>
                <a:gd name="connsiteY49" fmla="*/ 2089 h 10103"/>
                <a:gd name="connsiteX50" fmla="*/ 1897 w 10063"/>
                <a:gd name="connsiteY50" fmla="*/ 2089 h 10103"/>
                <a:gd name="connsiteX51" fmla="*/ 2465 w 10063"/>
                <a:gd name="connsiteY51" fmla="*/ 2125 h 10103"/>
                <a:gd name="connsiteX52" fmla="*/ 4692 w 10063"/>
                <a:gd name="connsiteY52" fmla="*/ 2234 h 10103"/>
                <a:gd name="connsiteX53" fmla="*/ 4692 w 10063"/>
                <a:gd name="connsiteY53" fmla="*/ 2234 h 10103"/>
                <a:gd name="connsiteX54" fmla="*/ 4735 w 10063"/>
                <a:gd name="connsiteY54" fmla="*/ 2234 h 10103"/>
                <a:gd name="connsiteX55" fmla="*/ 4779 w 10063"/>
                <a:gd name="connsiteY55" fmla="*/ 2234 h 10103"/>
                <a:gd name="connsiteX56" fmla="*/ 4779 w 10063"/>
                <a:gd name="connsiteY56" fmla="*/ 2234 h 10103"/>
                <a:gd name="connsiteX57" fmla="*/ 4866 w 10063"/>
                <a:gd name="connsiteY57" fmla="*/ 2234 h 10103"/>
                <a:gd name="connsiteX58" fmla="*/ 4910 w 10063"/>
                <a:gd name="connsiteY58" fmla="*/ 2196 h 10103"/>
                <a:gd name="connsiteX59" fmla="*/ 6613 w 10063"/>
                <a:gd name="connsiteY59" fmla="*/ 1692 h 10103"/>
                <a:gd name="connsiteX60" fmla="*/ 7574 w 10063"/>
                <a:gd name="connsiteY60" fmla="*/ 4760 h 10103"/>
                <a:gd name="connsiteX61" fmla="*/ 5827 w 10063"/>
                <a:gd name="connsiteY61" fmla="*/ 4651 h 10103"/>
                <a:gd name="connsiteX62" fmla="*/ 3818 w 10063"/>
                <a:gd name="connsiteY62" fmla="*/ 4544 h 10103"/>
                <a:gd name="connsiteX63" fmla="*/ 3818 w 10063"/>
                <a:gd name="connsiteY63" fmla="*/ 4544 h 10103"/>
                <a:gd name="connsiteX64" fmla="*/ 3644 w 10063"/>
                <a:gd name="connsiteY64" fmla="*/ 4579 h 10103"/>
                <a:gd name="connsiteX65" fmla="*/ 3469 w 10063"/>
                <a:gd name="connsiteY65" fmla="*/ 4651 h 10103"/>
                <a:gd name="connsiteX66" fmla="*/ 3338 w 10063"/>
                <a:gd name="connsiteY66" fmla="*/ 4760 h 10103"/>
                <a:gd name="connsiteX67" fmla="*/ 3207 w 10063"/>
                <a:gd name="connsiteY67" fmla="*/ 4905 h 10103"/>
                <a:gd name="connsiteX68" fmla="*/ 3163 w 10063"/>
                <a:gd name="connsiteY68" fmla="*/ 5157 h 10103"/>
                <a:gd name="connsiteX69" fmla="*/ 3163 w 10063"/>
                <a:gd name="connsiteY69" fmla="*/ 9526 h 10103"/>
                <a:gd name="connsiteX70" fmla="*/ 3163 w 10063"/>
                <a:gd name="connsiteY70" fmla="*/ 9526 h 10103"/>
                <a:gd name="connsiteX71" fmla="*/ 3207 w 10063"/>
                <a:gd name="connsiteY71" fmla="*/ 9634 h 10103"/>
                <a:gd name="connsiteX72" fmla="*/ 3251 w 10063"/>
                <a:gd name="connsiteY72" fmla="*/ 9742 h 10103"/>
                <a:gd name="connsiteX73" fmla="*/ 3294 w 10063"/>
                <a:gd name="connsiteY73" fmla="*/ 9850 h 10103"/>
                <a:gd name="connsiteX74" fmla="*/ 3382 w 10063"/>
                <a:gd name="connsiteY74" fmla="*/ 9923 h 10103"/>
                <a:gd name="connsiteX75" fmla="*/ 3513 w 10063"/>
                <a:gd name="connsiteY75" fmla="*/ 9995 h 10103"/>
                <a:gd name="connsiteX76" fmla="*/ 3600 w 10063"/>
                <a:gd name="connsiteY76" fmla="*/ 10068 h 10103"/>
                <a:gd name="connsiteX77" fmla="*/ 3731 w 10063"/>
                <a:gd name="connsiteY77" fmla="*/ 10103 h 10103"/>
                <a:gd name="connsiteX78" fmla="*/ 3906 w 10063"/>
                <a:gd name="connsiteY78" fmla="*/ 10103 h 10103"/>
                <a:gd name="connsiteX79" fmla="*/ 3906 w 10063"/>
                <a:gd name="connsiteY79" fmla="*/ 10103 h 10103"/>
                <a:gd name="connsiteX80" fmla="*/ 4037 w 10063"/>
                <a:gd name="connsiteY80" fmla="*/ 10103 h 10103"/>
                <a:gd name="connsiteX81" fmla="*/ 4168 w 10063"/>
                <a:gd name="connsiteY81" fmla="*/ 10068 h 10103"/>
                <a:gd name="connsiteX82" fmla="*/ 4299 w 10063"/>
                <a:gd name="connsiteY82" fmla="*/ 9995 h 10103"/>
                <a:gd name="connsiteX83" fmla="*/ 4430 w 10063"/>
                <a:gd name="connsiteY83" fmla="*/ 9923 h 10103"/>
                <a:gd name="connsiteX84" fmla="*/ 4517 w 10063"/>
                <a:gd name="connsiteY84" fmla="*/ 9850 h 10103"/>
                <a:gd name="connsiteX85" fmla="*/ 4561 w 10063"/>
                <a:gd name="connsiteY85" fmla="*/ 9742 h 10103"/>
                <a:gd name="connsiteX86" fmla="*/ 4604 w 10063"/>
                <a:gd name="connsiteY86" fmla="*/ 9634 h 10103"/>
                <a:gd name="connsiteX87" fmla="*/ 4604 w 10063"/>
                <a:gd name="connsiteY87" fmla="*/ 9526 h 10103"/>
                <a:gd name="connsiteX88" fmla="*/ 4604 w 10063"/>
                <a:gd name="connsiteY88" fmla="*/ 5879 h 10103"/>
                <a:gd name="connsiteX89" fmla="*/ 6963 w 10063"/>
                <a:gd name="connsiteY89" fmla="*/ 6132 h 10103"/>
                <a:gd name="connsiteX0" fmla="*/ 6777 w 9877"/>
                <a:gd name="connsiteY0" fmla="*/ 6027 h 9998"/>
                <a:gd name="connsiteX1" fmla="*/ 6777 w 9877"/>
                <a:gd name="connsiteY1" fmla="*/ 6027 h 9998"/>
                <a:gd name="connsiteX2" fmla="*/ 7956 w 9877"/>
                <a:gd name="connsiteY2" fmla="*/ 6135 h 9998"/>
                <a:gd name="connsiteX3" fmla="*/ 8698 w 9877"/>
                <a:gd name="connsiteY3" fmla="*/ 6208 h 9998"/>
                <a:gd name="connsiteX4" fmla="*/ 8698 w 9877"/>
                <a:gd name="connsiteY4" fmla="*/ 6208 h 9998"/>
                <a:gd name="connsiteX5" fmla="*/ 8873 w 9877"/>
                <a:gd name="connsiteY5" fmla="*/ 6208 h 9998"/>
                <a:gd name="connsiteX6" fmla="*/ 9047 w 9877"/>
                <a:gd name="connsiteY6" fmla="*/ 6172 h 9998"/>
                <a:gd name="connsiteX7" fmla="*/ 9047 w 9877"/>
                <a:gd name="connsiteY7" fmla="*/ 6172 h 9998"/>
                <a:gd name="connsiteX8" fmla="*/ 9353 w 9877"/>
                <a:gd name="connsiteY8" fmla="*/ 6063 h 9998"/>
                <a:gd name="connsiteX9" fmla="*/ 9353 w 9877"/>
                <a:gd name="connsiteY9" fmla="*/ 6063 h 9998"/>
                <a:gd name="connsiteX10" fmla="*/ 9353 w 9877"/>
                <a:gd name="connsiteY10" fmla="*/ 6063 h 9998"/>
                <a:gd name="connsiteX11" fmla="*/ 9353 w 9877"/>
                <a:gd name="connsiteY11" fmla="*/ 6063 h 9998"/>
                <a:gd name="connsiteX12" fmla="*/ 9353 w 9877"/>
                <a:gd name="connsiteY12" fmla="*/ 6063 h 9998"/>
                <a:gd name="connsiteX13" fmla="*/ 9484 w 9877"/>
                <a:gd name="connsiteY13" fmla="*/ 5991 h 9998"/>
                <a:gd name="connsiteX14" fmla="*/ 9615 w 9877"/>
                <a:gd name="connsiteY14" fmla="*/ 5846 h 9998"/>
                <a:gd name="connsiteX15" fmla="*/ 9702 w 9877"/>
                <a:gd name="connsiteY15" fmla="*/ 5739 h 9998"/>
                <a:gd name="connsiteX16" fmla="*/ 9790 w 9877"/>
                <a:gd name="connsiteY16" fmla="*/ 5557 h 9998"/>
                <a:gd name="connsiteX17" fmla="*/ 9833 w 9877"/>
                <a:gd name="connsiteY17" fmla="*/ 5412 h 9998"/>
                <a:gd name="connsiteX18" fmla="*/ 9877 w 9877"/>
                <a:gd name="connsiteY18" fmla="*/ 5232 h 9998"/>
                <a:gd name="connsiteX19" fmla="*/ 9877 w 9877"/>
                <a:gd name="connsiteY19" fmla="*/ 5052 h 9998"/>
                <a:gd name="connsiteX20" fmla="*/ 9833 w 9877"/>
                <a:gd name="connsiteY20" fmla="*/ 4873 h 9998"/>
                <a:gd name="connsiteX21" fmla="*/ 8611 w 9877"/>
                <a:gd name="connsiteY21" fmla="*/ 1080 h 9998"/>
                <a:gd name="connsiteX22" fmla="*/ 8611 w 9877"/>
                <a:gd name="connsiteY22" fmla="*/ 1080 h 9998"/>
                <a:gd name="connsiteX23" fmla="*/ 8523 w 9877"/>
                <a:gd name="connsiteY23" fmla="*/ 864 h 9998"/>
                <a:gd name="connsiteX24" fmla="*/ 8392 w 9877"/>
                <a:gd name="connsiteY24" fmla="*/ 684 h 9998"/>
                <a:gd name="connsiteX25" fmla="*/ 8218 w 9877"/>
                <a:gd name="connsiteY25" fmla="*/ 503 h 9998"/>
                <a:gd name="connsiteX26" fmla="*/ 8043 w 9877"/>
                <a:gd name="connsiteY26" fmla="*/ 395 h 9998"/>
                <a:gd name="connsiteX27" fmla="*/ 7825 w 9877"/>
                <a:gd name="connsiteY27" fmla="*/ 287 h 9998"/>
                <a:gd name="connsiteX28" fmla="*/ 7606 w 9877"/>
                <a:gd name="connsiteY28" fmla="*/ 251 h 9998"/>
                <a:gd name="connsiteX29" fmla="*/ 7388 w 9877"/>
                <a:gd name="connsiteY29" fmla="*/ 214 h 9998"/>
                <a:gd name="connsiteX30" fmla="*/ 7170 w 9877"/>
                <a:gd name="connsiteY30" fmla="*/ 251 h 9998"/>
                <a:gd name="connsiteX31" fmla="*/ 7170 w 9877"/>
                <a:gd name="connsiteY31" fmla="*/ 251 h 9998"/>
                <a:gd name="connsiteX32" fmla="*/ 6951 w 9877"/>
                <a:gd name="connsiteY32" fmla="*/ 322 h 9998"/>
                <a:gd name="connsiteX33" fmla="*/ 6777 w 9877"/>
                <a:gd name="connsiteY33" fmla="*/ 431 h 9998"/>
                <a:gd name="connsiteX34" fmla="*/ 6646 w 9877"/>
                <a:gd name="connsiteY34" fmla="*/ 540 h 9998"/>
                <a:gd name="connsiteX35" fmla="*/ 6515 w 9877"/>
                <a:gd name="connsiteY35" fmla="*/ 684 h 9998"/>
                <a:gd name="connsiteX36" fmla="*/ 4418 w 9877"/>
                <a:gd name="connsiteY36" fmla="*/ 1298 h 9998"/>
                <a:gd name="connsiteX37" fmla="*/ 963 w 9877"/>
                <a:gd name="connsiteY37" fmla="*/ 1251 h 9998"/>
                <a:gd name="connsiteX38" fmla="*/ 52 w 9877"/>
                <a:gd name="connsiteY38" fmla="*/ 34 h 9998"/>
                <a:gd name="connsiteX39" fmla="*/ 365 w 9877"/>
                <a:gd name="connsiteY39" fmla="*/ 795 h 9998"/>
                <a:gd name="connsiteX40" fmla="*/ 969 w 9877"/>
                <a:gd name="connsiteY40" fmla="*/ 1370 h 9998"/>
                <a:gd name="connsiteX41" fmla="*/ 969 w 9877"/>
                <a:gd name="connsiteY41" fmla="*/ 1370 h 9998"/>
                <a:gd name="connsiteX42" fmla="*/ 925 w 9877"/>
                <a:gd name="connsiteY42" fmla="*/ 1551 h 9998"/>
                <a:gd name="connsiteX43" fmla="*/ 925 w 9877"/>
                <a:gd name="connsiteY43" fmla="*/ 1551 h 9998"/>
                <a:gd name="connsiteX44" fmla="*/ 925 w 9877"/>
                <a:gd name="connsiteY44" fmla="*/ 1695 h 9998"/>
                <a:gd name="connsiteX45" fmla="*/ 969 w 9877"/>
                <a:gd name="connsiteY45" fmla="*/ 1840 h 9998"/>
                <a:gd name="connsiteX46" fmla="*/ 1100 w 9877"/>
                <a:gd name="connsiteY46" fmla="*/ 1947 h 9998"/>
                <a:gd name="connsiteX47" fmla="*/ 1187 w 9877"/>
                <a:gd name="connsiteY47" fmla="*/ 1984 h 9998"/>
                <a:gd name="connsiteX48" fmla="*/ 1493 w 9877"/>
                <a:gd name="connsiteY48" fmla="*/ 1984 h 9998"/>
                <a:gd name="connsiteX49" fmla="*/ 1711 w 9877"/>
                <a:gd name="connsiteY49" fmla="*/ 1984 h 9998"/>
                <a:gd name="connsiteX50" fmla="*/ 1711 w 9877"/>
                <a:gd name="connsiteY50" fmla="*/ 1984 h 9998"/>
                <a:gd name="connsiteX51" fmla="*/ 2279 w 9877"/>
                <a:gd name="connsiteY51" fmla="*/ 2020 h 9998"/>
                <a:gd name="connsiteX52" fmla="*/ 4506 w 9877"/>
                <a:gd name="connsiteY52" fmla="*/ 2129 h 9998"/>
                <a:gd name="connsiteX53" fmla="*/ 4506 w 9877"/>
                <a:gd name="connsiteY53" fmla="*/ 2129 h 9998"/>
                <a:gd name="connsiteX54" fmla="*/ 4549 w 9877"/>
                <a:gd name="connsiteY54" fmla="*/ 2129 h 9998"/>
                <a:gd name="connsiteX55" fmla="*/ 4593 w 9877"/>
                <a:gd name="connsiteY55" fmla="*/ 2129 h 9998"/>
                <a:gd name="connsiteX56" fmla="*/ 4593 w 9877"/>
                <a:gd name="connsiteY56" fmla="*/ 2129 h 9998"/>
                <a:gd name="connsiteX57" fmla="*/ 4680 w 9877"/>
                <a:gd name="connsiteY57" fmla="*/ 2129 h 9998"/>
                <a:gd name="connsiteX58" fmla="*/ 4724 w 9877"/>
                <a:gd name="connsiteY58" fmla="*/ 2091 h 9998"/>
                <a:gd name="connsiteX59" fmla="*/ 6427 w 9877"/>
                <a:gd name="connsiteY59" fmla="*/ 1587 h 9998"/>
                <a:gd name="connsiteX60" fmla="*/ 7388 w 9877"/>
                <a:gd name="connsiteY60" fmla="*/ 4655 h 9998"/>
                <a:gd name="connsiteX61" fmla="*/ 5641 w 9877"/>
                <a:gd name="connsiteY61" fmla="*/ 4546 h 9998"/>
                <a:gd name="connsiteX62" fmla="*/ 3632 w 9877"/>
                <a:gd name="connsiteY62" fmla="*/ 4439 h 9998"/>
                <a:gd name="connsiteX63" fmla="*/ 3632 w 9877"/>
                <a:gd name="connsiteY63" fmla="*/ 4439 h 9998"/>
                <a:gd name="connsiteX64" fmla="*/ 3458 w 9877"/>
                <a:gd name="connsiteY64" fmla="*/ 4474 h 9998"/>
                <a:gd name="connsiteX65" fmla="*/ 3283 w 9877"/>
                <a:gd name="connsiteY65" fmla="*/ 4546 h 9998"/>
                <a:gd name="connsiteX66" fmla="*/ 3152 w 9877"/>
                <a:gd name="connsiteY66" fmla="*/ 4655 h 9998"/>
                <a:gd name="connsiteX67" fmla="*/ 3021 w 9877"/>
                <a:gd name="connsiteY67" fmla="*/ 4800 h 9998"/>
                <a:gd name="connsiteX68" fmla="*/ 2977 w 9877"/>
                <a:gd name="connsiteY68" fmla="*/ 5052 h 9998"/>
                <a:gd name="connsiteX69" fmla="*/ 2977 w 9877"/>
                <a:gd name="connsiteY69" fmla="*/ 9421 h 9998"/>
                <a:gd name="connsiteX70" fmla="*/ 2977 w 9877"/>
                <a:gd name="connsiteY70" fmla="*/ 9421 h 9998"/>
                <a:gd name="connsiteX71" fmla="*/ 3021 w 9877"/>
                <a:gd name="connsiteY71" fmla="*/ 9529 h 9998"/>
                <a:gd name="connsiteX72" fmla="*/ 3065 w 9877"/>
                <a:gd name="connsiteY72" fmla="*/ 9637 h 9998"/>
                <a:gd name="connsiteX73" fmla="*/ 3108 w 9877"/>
                <a:gd name="connsiteY73" fmla="*/ 9745 h 9998"/>
                <a:gd name="connsiteX74" fmla="*/ 3196 w 9877"/>
                <a:gd name="connsiteY74" fmla="*/ 9818 h 9998"/>
                <a:gd name="connsiteX75" fmla="*/ 3327 w 9877"/>
                <a:gd name="connsiteY75" fmla="*/ 9890 h 9998"/>
                <a:gd name="connsiteX76" fmla="*/ 3414 w 9877"/>
                <a:gd name="connsiteY76" fmla="*/ 9963 h 9998"/>
                <a:gd name="connsiteX77" fmla="*/ 3545 w 9877"/>
                <a:gd name="connsiteY77" fmla="*/ 9998 h 9998"/>
                <a:gd name="connsiteX78" fmla="*/ 3720 w 9877"/>
                <a:gd name="connsiteY78" fmla="*/ 9998 h 9998"/>
                <a:gd name="connsiteX79" fmla="*/ 3720 w 9877"/>
                <a:gd name="connsiteY79" fmla="*/ 9998 h 9998"/>
                <a:gd name="connsiteX80" fmla="*/ 3851 w 9877"/>
                <a:gd name="connsiteY80" fmla="*/ 9998 h 9998"/>
                <a:gd name="connsiteX81" fmla="*/ 3982 w 9877"/>
                <a:gd name="connsiteY81" fmla="*/ 9963 h 9998"/>
                <a:gd name="connsiteX82" fmla="*/ 4113 w 9877"/>
                <a:gd name="connsiteY82" fmla="*/ 9890 h 9998"/>
                <a:gd name="connsiteX83" fmla="*/ 4244 w 9877"/>
                <a:gd name="connsiteY83" fmla="*/ 9818 h 9998"/>
                <a:gd name="connsiteX84" fmla="*/ 4331 w 9877"/>
                <a:gd name="connsiteY84" fmla="*/ 9745 h 9998"/>
                <a:gd name="connsiteX85" fmla="*/ 4375 w 9877"/>
                <a:gd name="connsiteY85" fmla="*/ 9637 h 9998"/>
                <a:gd name="connsiteX86" fmla="*/ 4418 w 9877"/>
                <a:gd name="connsiteY86" fmla="*/ 9529 h 9998"/>
                <a:gd name="connsiteX87" fmla="*/ 4418 w 9877"/>
                <a:gd name="connsiteY87" fmla="*/ 9421 h 9998"/>
                <a:gd name="connsiteX88" fmla="*/ 4418 w 9877"/>
                <a:gd name="connsiteY88" fmla="*/ 5774 h 9998"/>
                <a:gd name="connsiteX89" fmla="*/ 6777 w 9877"/>
                <a:gd name="connsiteY89" fmla="*/ 6027 h 9998"/>
                <a:gd name="connsiteX0" fmla="*/ 6540 w 9679"/>
                <a:gd name="connsiteY0" fmla="*/ 5814 h 9786"/>
                <a:gd name="connsiteX1" fmla="*/ 6540 w 9679"/>
                <a:gd name="connsiteY1" fmla="*/ 5814 h 9786"/>
                <a:gd name="connsiteX2" fmla="*/ 7734 w 9679"/>
                <a:gd name="connsiteY2" fmla="*/ 5922 h 9786"/>
                <a:gd name="connsiteX3" fmla="*/ 8485 w 9679"/>
                <a:gd name="connsiteY3" fmla="*/ 5995 h 9786"/>
                <a:gd name="connsiteX4" fmla="*/ 8485 w 9679"/>
                <a:gd name="connsiteY4" fmla="*/ 5995 h 9786"/>
                <a:gd name="connsiteX5" fmla="*/ 8662 w 9679"/>
                <a:gd name="connsiteY5" fmla="*/ 5995 h 9786"/>
                <a:gd name="connsiteX6" fmla="*/ 8839 w 9679"/>
                <a:gd name="connsiteY6" fmla="*/ 5959 h 9786"/>
                <a:gd name="connsiteX7" fmla="*/ 8839 w 9679"/>
                <a:gd name="connsiteY7" fmla="*/ 5959 h 9786"/>
                <a:gd name="connsiteX8" fmla="*/ 9148 w 9679"/>
                <a:gd name="connsiteY8" fmla="*/ 5850 h 9786"/>
                <a:gd name="connsiteX9" fmla="*/ 9148 w 9679"/>
                <a:gd name="connsiteY9" fmla="*/ 5850 h 9786"/>
                <a:gd name="connsiteX10" fmla="*/ 9148 w 9679"/>
                <a:gd name="connsiteY10" fmla="*/ 5850 h 9786"/>
                <a:gd name="connsiteX11" fmla="*/ 9148 w 9679"/>
                <a:gd name="connsiteY11" fmla="*/ 5850 h 9786"/>
                <a:gd name="connsiteX12" fmla="*/ 9148 w 9679"/>
                <a:gd name="connsiteY12" fmla="*/ 5850 h 9786"/>
                <a:gd name="connsiteX13" fmla="*/ 9281 w 9679"/>
                <a:gd name="connsiteY13" fmla="*/ 5778 h 9786"/>
                <a:gd name="connsiteX14" fmla="*/ 9414 w 9679"/>
                <a:gd name="connsiteY14" fmla="*/ 5633 h 9786"/>
                <a:gd name="connsiteX15" fmla="*/ 9502 w 9679"/>
                <a:gd name="connsiteY15" fmla="*/ 5526 h 9786"/>
                <a:gd name="connsiteX16" fmla="*/ 9591 w 9679"/>
                <a:gd name="connsiteY16" fmla="*/ 5344 h 9786"/>
                <a:gd name="connsiteX17" fmla="*/ 9634 w 9679"/>
                <a:gd name="connsiteY17" fmla="*/ 5199 h 9786"/>
                <a:gd name="connsiteX18" fmla="*/ 9679 w 9679"/>
                <a:gd name="connsiteY18" fmla="*/ 5019 h 9786"/>
                <a:gd name="connsiteX19" fmla="*/ 9679 w 9679"/>
                <a:gd name="connsiteY19" fmla="*/ 4839 h 9786"/>
                <a:gd name="connsiteX20" fmla="*/ 9634 w 9679"/>
                <a:gd name="connsiteY20" fmla="*/ 4660 h 9786"/>
                <a:gd name="connsiteX21" fmla="*/ 8397 w 9679"/>
                <a:gd name="connsiteY21" fmla="*/ 866 h 9786"/>
                <a:gd name="connsiteX22" fmla="*/ 8397 w 9679"/>
                <a:gd name="connsiteY22" fmla="*/ 866 h 9786"/>
                <a:gd name="connsiteX23" fmla="*/ 8308 w 9679"/>
                <a:gd name="connsiteY23" fmla="*/ 650 h 9786"/>
                <a:gd name="connsiteX24" fmla="*/ 8176 w 9679"/>
                <a:gd name="connsiteY24" fmla="*/ 470 h 9786"/>
                <a:gd name="connsiteX25" fmla="*/ 7999 w 9679"/>
                <a:gd name="connsiteY25" fmla="*/ 289 h 9786"/>
                <a:gd name="connsiteX26" fmla="*/ 7822 w 9679"/>
                <a:gd name="connsiteY26" fmla="*/ 181 h 9786"/>
                <a:gd name="connsiteX27" fmla="*/ 7601 w 9679"/>
                <a:gd name="connsiteY27" fmla="*/ 73 h 9786"/>
                <a:gd name="connsiteX28" fmla="*/ 7380 w 9679"/>
                <a:gd name="connsiteY28" fmla="*/ 37 h 9786"/>
                <a:gd name="connsiteX29" fmla="*/ 7159 w 9679"/>
                <a:gd name="connsiteY29" fmla="*/ 0 h 9786"/>
                <a:gd name="connsiteX30" fmla="*/ 6938 w 9679"/>
                <a:gd name="connsiteY30" fmla="*/ 37 h 9786"/>
                <a:gd name="connsiteX31" fmla="*/ 6938 w 9679"/>
                <a:gd name="connsiteY31" fmla="*/ 37 h 9786"/>
                <a:gd name="connsiteX32" fmla="*/ 6717 w 9679"/>
                <a:gd name="connsiteY32" fmla="*/ 108 h 9786"/>
                <a:gd name="connsiteX33" fmla="*/ 6540 w 9679"/>
                <a:gd name="connsiteY33" fmla="*/ 217 h 9786"/>
                <a:gd name="connsiteX34" fmla="*/ 6408 w 9679"/>
                <a:gd name="connsiteY34" fmla="*/ 326 h 9786"/>
                <a:gd name="connsiteX35" fmla="*/ 6275 w 9679"/>
                <a:gd name="connsiteY35" fmla="*/ 470 h 9786"/>
                <a:gd name="connsiteX36" fmla="*/ 4152 w 9679"/>
                <a:gd name="connsiteY36" fmla="*/ 1084 h 9786"/>
                <a:gd name="connsiteX37" fmla="*/ 654 w 9679"/>
                <a:gd name="connsiteY37" fmla="*/ 1037 h 9786"/>
                <a:gd name="connsiteX38" fmla="*/ 329 w 9679"/>
                <a:gd name="connsiteY38" fmla="*/ 530 h 9786"/>
                <a:gd name="connsiteX39" fmla="*/ 49 w 9679"/>
                <a:gd name="connsiteY39" fmla="*/ 581 h 9786"/>
                <a:gd name="connsiteX40" fmla="*/ 660 w 9679"/>
                <a:gd name="connsiteY40" fmla="*/ 1156 h 9786"/>
                <a:gd name="connsiteX41" fmla="*/ 660 w 9679"/>
                <a:gd name="connsiteY41" fmla="*/ 1156 h 9786"/>
                <a:gd name="connsiteX42" fmla="*/ 616 w 9679"/>
                <a:gd name="connsiteY42" fmla="*/ 1337 h 9786"/>
                <a:gd name="connsiteX43" fmla="*/ 616 w 9679"/>
                <a:gd name="connsiteY43" fmla="*/ 1337 h 9786"/>
                <a:gd name="connsiteX44" fmla="*/ 616 w 9679"/>
                <a:gd name="connsiteY44" fmla="*/ 1481 h 9786"/>
                <a:gd name="connsiteX45" fmla="*/ 660 w 9679"/>
                <a:gd name="connsiteY45" fmla="*/ 1626 h 9786"/>
                <a:gd name="connsiteX46" fmla="*/ 793 w 9679"/>
                <a:gd name="connsiteY46" fmla="*/ 1733 h 9786"/>
                <a:gd name="connsiteX47" fmla="*/ 881 w 9679"/>
                <a:gd name="connsiteY47" fmla="*/ 1770 h 9786"/>
                <a:gd name="connsiteX48" fmla="*/ 1191 w 9679"/>
                <a:gd name="connsiteY48" fmla="*/ 1770 h 9786"/>
                <a:gd name="connsiteX49" fmla="*/ 1411 w 9679"/>
                <a:gd name="connsiteY49" fmla="*/ 1770 h 9786"/>
                <a:gd name="connsiteX50" fmla="*/ 1411 w 9679"/>
                <a:gd name="connsiteY50" fmla="*/ 1770 h 9786"/>
                <a:gd name="connsiteX51" fmla="*/ 1986 w 9679"/>
                <a:gd name="connsiteY51" fmla="*/ 1806 h 9786"/>
                <a:gd name="connsiteX52" fmla="*/ 4241 w 9679"/>
                <a:gd name="connsiteY52" fmla="*/ 1915 h 9786"/>
                <a:gd name="connsiteX53" fmla="*/ 4241 w 9679"/>
                <a:gd name="connsiteY53" fmla="*/ 1915 h 9786"/>
                <a:gd name="connsiteX54" fmla="*/ 4285 w 9679"/>
                <a:gd name="connsiteY54" fmla="*/ 1915 h 9786"/>
                <a:gd name="connsiteX55" fmla="*/ 4329 w 9679"/>
                <a:gd name="connsiteY55" fmla="*/ 1915 h 9786"/>
                <a:gd name="connsiteX56" fmla="*/ 4329 w 9679"/>
                <a:gd name="connsiteY56" fmla="*/ 1915 h 9786"/>
                <a:gd name="connsiteX57" fmla="*/ 4417 w 9679"/>
                <a:gd name="connsiteY57" fmla="*/ 1915 h 9786"/>
                <a:gd name="connsiteX58" fmla="*/ 4462 w 9679"/>
                <a:gd name="connsiteY58" fmla="*/ 1877 h 9786"/>
                <a:gd name="connsiteX59" fmla="*/ 6186 w 9679"/>
                <a:gd name="connsiteY59" fmla="*/ 1373 h 9786"/>
                <a:gd name="connsiteX60" fmla="*/ 7159 w 9679"/>
                <a:gd name="connsiteY60" fmla="*/ 4442 h 9786"/>
                <a:gd name="connsiteX61" fmla="*/ 5390 w 9679"/>
                <a:gd name="connsiteY61" fmla="*/ 4333 h 9786"/>
                <a:gd name="connsiteX62" fmla="*/ 3356 w 9679"/>
                <a:gd name="connsiteY62" fmla="*/ 4226 h 9786"/>
                <a:gd name="connsiteX63" fmla="*/ 3356 w 9679"/>
                <a:gd name="connsiteY63" fmla="*/ 4226 h 9786"/>
                <a:gd name="connsiteX64" fmla="*/ 3180 w 9679"/>
                <a:gd name="connsiteY64" fmla="*/ 4261 h 9786"/>
                <a:gd name="connsiteX65" fmla="*/ 3003 w 9679"/>
                <a:gd name="connsiteY65" fmla="*/ 4333 h 9786"/>
                <a:gd name="connsiteX66" fmla="*/ 2870 w 9679"/>
                <a:gd name="connsiteY66" fmla="*/ 4442 h 9786"/>
                <a:gd name="connsiteX67" fmla="*/ 2738 w 9679"/>
                <a:gd name="connsiteY67" fmla="*/ 4587 h 9786"/>
                <a:gd name="connsiteX68" fmla="*/ 2693 w 9679"/>
                <a:gd name="connsiteY68" fmla="*/ 4839 h 9786"/>
                <a:gd name="connsiteX69" fmla="*/ 2693 w 9679"/>
                <a:gd name="connsiteY69" fmla="*/ 9209 h 9786"/>
                <a:gd name="connsiteX70" fmla="*/ 2693 w 9679"/>
                <a:gd name="connsiteY70" fmla="*/ 9209 h 9786"/>
                <a:gd name="connsiteX71" fmla="*/ 2738 w 9679"/>
                <a:gd name="connsiteY71" fmla="*/ 9317 h 9786"/>
                <a:gd name="connsiteX72" fmla="*/ 2782 w 9679"/>
                <a:gd name="connsiteY72" fmla="*/ 9425 h 9786"/>
                <a:gd name="connsiteX73" fmla="*/ 2826 w 9679"/>
                <a:gd name="connsiteY73" fmla="*/ 9533 h 9786"/>
                <a:gd name="connsiteX74" fmla="*/ 2915 w 9679"/>
                <a:gd name="connsiteY74" fmla="*/ 9606 h 9786"/>
                <a:gd name="connsiteX75" fmla="*/ 3047 w 9679"/>
                <a:gd name="connsiteY75" fmla="*/ 9678 h 9786"/>
                <a:gd name="connsiteX76" fmla="*/ 3136 w 9679"/>
                <a:gd name="connsiteY76" fmla="*/ 9751 h 9786"/>
                <a:gd name="connsiteX77" fmla="*/ 3268 w 9679"/>
                <a:gd name="connsiteY77" fmla="*/ 9786 h 9786"/>
                <a:gd name="connsiteX78" fmla="*/ 3445 w 9679"/>
                <a:gd name="connsiteY78" fmla="*/ 9786 h 9786"/>
                <a:gd name="connsiteX79" fmla="*/ 3445 w 9679"/>
                <a:gd name="connsiteY79" fmla="*/ 9786 h 9786"/>
                <a:gd name="connsiteX80" fmla="*/ 3578 w 9679"/>
                <a:gd name="connsiteY80" fmla="*/ 9786 h 9786"/>
                <a:gd name="connsiteX81" fmla="*/ 3711 w 9679"/>
                <a:gd name="connsiteY81" fmla="*/ 9751 h 9786"/>
                <a:gd name="connsiteX82" fmla="*/ 3843 w 9679"/>
                <a:gd name="connsiteY82" fmla="*/ 9678 h 9786"/>
                <a:gd name="connsiteX83" fmla="*/ 3976 w 9679"/>
                <a:gd name="connsiteY83" fmla="*/ 9606 h 9786"/>
                <a:gd name="connsiteX84" fmla="*/ 4064 w 9679"/>
                <a:gd name="connsiteY84" fmla="*/ 9533 h 9786"/>
                <a:gd name="connsiteX85" fmla="*/ 4108 w 9679"/>
                <a:gd name="connsiteY85" fmla="*/ 9425 h 9786"/>
                <a:gd name="connsiteX86" fmla="*/ 4152 w 9679"/>
                <a:gd name="connsiteY86" fmla="*/ 9317 h 9786"/>
                <a:gd name="connsiteX87" fmla="*/ 4152 w 9679"/>
                <a:gd name="connsiteY87" fmla="*/ 9209 h 9786"/>
                <a:gd name="connsiteX88" fmla="*/ 4152 w 9679"/>
                <a:gd name="connsiteY88" fmla="*/ 5561 h 9786"/>
                <a:gd name="connsiteX89" fmla="*/ 6540 w 9679"/>
                <a:gd name="connsiteY89" fmla="*/ 5814 h 9786"/>
                <a:gd name="connsiteX0" fmla="*/ 6867 w 10110"/>
                <a:gd name="connsiteY0" fmla="*/ 5941 h 10000"/>
                <a:gd name="connsiteX1" fmla="*/ 6867 w 10110"/>
                <a:gd name="connsiteY1" fmla="*/ 5941 h 10000"/>
                <a:gd name="connsiteX2" fmla="*/ 8100 w 10110"/>
                <a:gd name="connsiteY2" fmla="*/ 6052 h 10000"/>
                <a:gd name="connsiteX3" fmla="*/ 8876 w 10110"/>
                <a:gd name="connsiteY3" fmla="*/ 6126 h 10000"/>
                <a:gd name="connsiteX4" fmla="*/ 8876 w 10110"/>
                <a:gd name="connsiteY4" fmla="*/ 6126 h 10000"/>
                <a:gd name="connsiteX5" fmla="*/ 9059 w 10110"/>
                <a:gd name="connsiteY5" fmla="*/ 6126 h 10000"/>
                <a:gd name="connsiteX6" fmla="*/ 9242 w 10110"/>
                <a:gd name="connsiteY6" fmla="*/ 6089 h 10000"/>
                <a:gd name="connsiteX7" fmla="*/ 9242 w 10110"/>
                <a:gd name="connsiteY7" fmla="*/ 6089 h 10000"/>
                <a:gd name="connsiteX8" fmla="*/ 9561 w 10110"/>
                <a:gd name="connsiteY8" fmla="*/ 5978 h 10000"/>
                <a:gd name="connsiteX9" fmla="*/ 9561 w 10110"/>
                <a:gd name="connsiteY9" fmla="*/ 5978 h 10000"/>
                <a:gd name="connsiteX10" fmla="*/ 9561 w 10110"/>
                <a:gd name="connsiteY10" fmla="*/ 5978 h 10000"/>
                <a:gd name="connsiteX11" fmla="*/ 9561 w 10110"/>
                <a:gd name="connsiteY11" fmla="*/ 5978 h 10000"/>
                <a:gd name="connsiteX12" fmla="*/ 9561 w 10110"/>
                <a:gd name="connsiteY12" fmla="*/ 5978 h 10000"/>
                <a:gd name="connsiteX13" fmla="*/ 9699 w 10110"/>
                <a:gd name="connsiteY13" fmla="*/ 5904 h 10000"/>
                <a:gd name="connsiteX14" fmla="*/ 9836 w 10110"/>
                <a:gd name="connsiteY14" fmla="*/ 5756 h 10000"/>
                <a:gd name="connsiteX15" fmla="*/ 9927 w 10110"/>
                <a:gd name="connsiteY15" fmla="*/ 5647 h 10000"/>
                <a:gd name="connsiteX16" fmla="*/ 10019 w 10110"/>
                <a:gd name="connsiteY16" fmla="*/ 5461 h 10000"/>
                <a:gd name="connsiteX17" fmla="*/ 10064 w 10110"/>
                <a:gd name="connsiteY17" fmla="*/ 5313 h 10000"/>
                <a:gd name="connsiteX18" fmla="*/ 10110 w 10110"/>
                <a:gd name="connsiteY18" fmla="*/ 5129 h 10000"/>
                <a:gd name="connsiteX19" fmla="*/ 10110 w 10110"/>
                <a:gd name="connsiteY19" fmla="*/ 4945 h 10000"/>
                <a:gd name="connsiteX20" fmla="*/ 10064 w 10110"/>
                <a:gd name="connsiteY20" fmla="*/ 4762 h 10000"/>
                <a:gd name="connsiteX21" fmla="*/ 8785 w 10110"/>
                <a:gd name="connsiteY21" fmla="*/ 885 h 10000"/>
                <a:gd name="connsiteX22" fmla="*/ 8785 w 10110"/>
                <a:gd name="connsiteY22" fmla="*/ 885 h 10000"/>
                <a:gd name="connsiteX23" fmla="*/ 8694 w 10110"/>
                <a:gd name="connsiteY23" fmla="*/ 664 h 10000"/>
                <a:gd name="connsiteX24" fmla="*/ 8557 w 10110"/>
                <a:gd name="connsiteY24" fmla="*/ 480 h 10000"/>
                <a:gd name="connsiteX25" fmla="*/ 8374 w 10110"/>
                <a:gd name="connsiteY25" fmla="*/ 295 h 10000"/>
                <a:gd name="connsiteX26" fmla="*/ 8191 w 10110"/>
                <a:gd name="connsiteY26" fmla="*/ 185 h 10000"/>
                <a:gd name="connsiteX27" fmla="*/ 7963 w 10110"/>
                <a:gd name="connsiteY27" fmla="*/ 75 h 10000"/>
                <a:gd name="connsiteX28" fmla="*/ 7735 w 10110"/>
                <a:gd name="connsiteY28" fmla="*/ 38 h 10000"/>
                <a:gd name="connsiteX29" fmla="*/ 7506 w 10110"/>
                <a:gd name="connsiteY29" fmla="*/ 0 h 10000"/>
                <a:gd name="connsiteX30" fmla="*/ 7278 w 10110"/>
                <a:gd name="connsiteY30" fmla="*/ 38 h 10000"/>
                <a:gd name="connsiteX31" fmla="*/ 7278 w 10110"/>
                <a:gd name="connsiteY31" fmla="*/ 38 h 10000"/>
                <a:gd name="connsiteX32" fmla="*/ 7050 w 10110"/>
                <a:gd name="connsiteY32" fmla="*/ 110 h 10000"/>
                <a:gd name="connsiteX33" fmla="*/ 6867 w 10110"/>
                <a:gd name="connsiteY33" fmla="*/ 222 h 10000"/>
                <a:gd name="connsiteX34" fmla="*/ 6731 w 10110"/>
                <a:gd name="connsiteY34" fmla="*/ 333 h 10000"/>
                <a:gd name="connsiteX35" fmla="*/ 6593 w 10110"/>
                <a:gd name="connsiteY35" fmla="*/ 480 h 10000"/>
                <a:gd name="connsiteX36" fmla="*/ 4400 w 10110"/>
                <a:gd name="connsiteY36" fmla="*/ 1108 h 10000"/>
                <a:gd name="connsiteX37" fmla="*/ 786 w 10110"/>
                <a:gd name="connsiteY37" fmla="*/ 1060 h 10000"/>
                <a:gd name="connsiteX38" fmla="*/ 450 w 10110"/>
                <a:gd name="connsiteY38" fmla="*/ 542 h 10000"/>
                <a:gd name="connsiteX39" fmla="*/ 38 w 10110"/>
                <a:gd name="connsiteY39" fmla="*/ 267 h 10000"/>
                <a:gd name="connsiteX40" fmla="*/ 792 w 10110"/>
                <a:gd name="connsiteY40" fmla="*/ 1181 h 10000"/>
                <a:gd name="connsiteX41" fmla="*/ 792 w 10110"/>
                <a:gd name="connsiteY41" fmla="*/ 1181 h 10000"/>
                <a:gd name="connsiteX42" fmla="*/ 746 w 10110"/>
                <a:gd name="connsiteY42" fmla="*/ 1366 h 10000"/>
                <a:gd name="connsiteX43" fmla="*/ 746 w 10110"/>
                <a:gd name="connsiteY43" fmla="*/ 1366 h 10000"/>
                <a:gd name="connsiteX44" fmla="*/ 746 w 10110"/>
                <a:gd name="connsiteY44" fmla="*/ 1513 h 10000"/>
                <a:gd name="connsiteX45" fmla="*/ 792 w 10110"/>
                <a:gd name="connsiteY45" fmla="*/ 1662 h 10000"/>
                <a:gd name="connsiteX46" fmla="*/ 929 w 10110"/>
                <a:gd name="connsiteY46" fmla="*/ 1771 h 10000"/>
                <a:gd name="connsiteX47" fmla="*/ 1020 w 10110"/>
                <a:gd name="connsiteY47" fmla="*/ 1809 h 10000"/>
                <a:gd name="connsiteX48" fmla="*/ 1340 w 10110"/>
                <a:gd name="connsiteY48" fmla="*/ 1809 h 10000"/>
                <a:gd name="connsiteX49" fmla="*/ 1568 w 10110"/>
                <a:gd name="connsiteY49" fmla="*/ 1809 h 10000"/>
                <a:gd name="connsiteX50" fmla="*/ 1568 w 10110"/>
                <a:gd name="connsiteY50" fmla="*/ 1809 h 10000"/>
                <a:gd name="connsiteX51" fmla="*/ 2162 w 10110"/>
                <a:gd name="connsiteY51" fmla="*/ 1845 h 10000"/>
                <a:gd name="connsiteX52" fmla="*/ 4492 w 10110"/>
                <a:gd name="connsiteY52" fmla="*/ 1957 h 10000"/>
                <a:gd name="connsiteX53" fmla="*/ 4492 w 10110"/>
                <a:gd name="connsiteY53" fmla="*/ 1957 h 10000"/>
                <a:gd name="connsiteX54" fmla="*/ 4537 w 10110"/>
                <a:gd name="connsiteY54" fmla="*/ 1957 h 10000"/>
                <a:gd name="connsiteX55" fmla="*/ 4583 w 10110"/>
                <a:gd name="connsiteY55" fmla="*/ 1957 h 10000"/>
                <a:gd name="connsiteX56" fmla="*/ 4583 w 10110"/>
                <a:gd name="connsiteY56" fmla="*/ 1957 h 10000"/>
                <a:gd name="connsiteX57" fmla="*/ 4673 w 10110"/>
                <a:gd name="connsiteY57" fmla="*/ 1957 h 10000"/>
                <a:gd name="connsiteX58" fmla="*/ 4720 w 10110"/>
                <a:gd name="connsiteY58" fmla="*/ 1918 h 10000"/>
                <a:gd name="connsiteX59" fmla="*/ 6501 w 10110"/>
                <a:gd name="connsiteY59" fmla="*/ 1403 h 10000"/>
                <a:gd name="connsiteX60" fmla="*/ 7506 w 10110"/>
                <a:gd name="connsiteY60" fmla="*/ 4539 h 10000"/>
                <a:gd name="connsiteX61" fmla="*/ 5679 w 10110"/>
                <a:gd name="connsiteY61" fmla="*/ 4428 h 10000"/>
                <a:gd name="connsiteX62" fmla="*/ 3577 w 10110"/>
                <a:gd name="connsiteY62" fmla="*/ 4318 h 10000"/>
                <a:gd name="connsiteX63" fmla="*/ 3577 w 10110"/>
                <a:gd name="connsiteY63" fmla="*/ 4318 h 10000"/>
                <a:gd name="connsiteX64" fmla="*/ 3395 w 10110"/>
                <a:gd name="connsiteY64" fmla="*/ 4354 h 10000"/>
                <a:gd name="connsiteX65" fmla="*/ 3213 w 10110"/>
                <a:gd name="connsiteY65" fmla="*/ 4428 h 10000"/>
                <a:gd name="connsiteX66" fmla="*/ 3075 w 10110"/>
                <a:gd name="connsiteY66" fmla="*/ 4539 h 10000"/>
                <a:gd name="connsiteX67" fmla="*/ 2939 w 10110"/>
                <a:gd name="connsiteY67" fmla="*/ 4687 h 10000"/>
                <a:gd name="connsiteX68" fmla="*/ 2892 w 10110"/>
                <a:gd name="connsiteY68" fmla="*/ 4945 h 10000"/>
                <a:gd name="connsiteX69" fmla="*/ 2892 w 10110"/>
                <a:gd name="connsiteY69" fmla="*/ 9410 h 10000"/>
                <a:gd name="connsiteX70" fmla="*/ 2892 w 10110"/>
                <a:gd name="connsiteY70" fmla="*/ 9410 h 10000"/>
                <a:gd name="connsiteX71" fmla="*/ 2939 w 10110"/>
                <a:gd name="connsiteY71" fmla="*/ 9521 h 10000"/>
                <a:gd name="connsiteX72" fmla="*/ 2984 w 10110"/>
                <a:gd name="connsiteY72" fmla="*/ 9631 h 10000"/>
                <a:gd name="connsiteX73" fmla="*/ 3030 w 10110"/>
                <a:gd name="connsiteY73" fmla="*/ 9741 h 10000"/>
                <a:gd name="connsiteX74" fmla="*/ 3122 w 10110"/>
                <a:gd name="connsiteY74" fmla="*/ 9816 h 10000"/>
                <a:gd name="connsiteX75" fmla="*/ 3258 w 10110"/>
                <a:gd name="connsiteY75" fmla="*/ 9890 h 10000"/>
                <a:gd name="connsiteX76" fmla="*/ 3350 w 10110"/>
                <a:gd name="connsiteY76" fmla="*/ 9964 h 10000"/>
                <a:gd name="connsiteX77" fmla="*/ 3486 w 10110"/>
                <a:gd name="connsiteY77" fmla="*/ 10000 h 10000"/>
                <a:gd name="connsiteX78" fmla="*/ 3669 w 10110"/>
                <a:gd name="connsiteY78" fmla="*/ 10000 h 10000"/>
                <a:gd name="connsiteX79" fmla="*/ 3669 w 10110"/>
                <a:gd name="connsiteY79" fmla="*/ 10000 h 10000"/>
                <a:gd name="connsiteX80" fmla="*/ 3807 w 10110"/>
                <a:gd name="connsiteY80" fmla="*/ 10000 h 10000"/>
                <a:gd name="connsiteX81" fmla="*/ 3944 w 10110"/>
                <a:gd name="connsiteY81" fmla="*/ 9964 h 10000"/>
                <a:gd name="connsiteX82" fmla="*/ 4080 w 10110"/>
                <a:gd name="connsiteY82" fmla="*/ 9890 h 10000"/>
                <a:gd name="connsiteX83" fmla="*/ 4218 w 10110"/>
                <a:gd name="connsiteY83" fmla="*/ 9816 h 10000"/>
                <a:gd name="connsiteX84" fmla="*/ 4309 w 10110"/>
                <a:gd name="connsiteY84" fmla="*/ 9741 h 10000"/>
                <a:gd name="connsiteX85" fmla="*/ 4354 w 10110"/>
                <a:gd name="connsiteY85" fmla="*/ 9631 h 10000"/>
                <a:gd name="connsiteX86" fmla="*/ 4400 w 10110"/>
                <a:gd name="connsiteY86" fmla="*/ 9521 h 10000"/>
                <a:gd name="connsiteX87" fmla="*/ 4400 w 10110"/>
                <a:gd name="connsiteY87" fmla="*/ 9410 h 10000"/>
                <a:gd name="connsiteX88" fmla="*/ 4400 w 10110"/>
                <a:gd name="connsiteY88" fmla="*/ 5683 h 10000"/>
                <a:gd name="connsiteX89" fmla="*/ 6867 w 10110"/>
                <a:gd name="connsiteY89" fmla="*/ 5941 h 10000"/>
                <a:gd name="connsiteX0" fmla="*/ 6875 w 10118"/>
                <a:gd name="connsiteY0" fmla="*/ 5941 h 10000"/>
                <a:gd name="connsiteX1" fmla="*/ 6875 w 10118"/>
                <a:gd name="connsiteY1" fmla="*/ 5941 h 10000"/>
                <a:gd name="connsiteX2" fmla="*/ 8108 w 10118"/>
                <a:gd name="connsiteY2" fmla="*/ 6052 h 10000"/>
                <a:gd name="connsiteX3" fmla="*/ 8884 w 10118"/>
                <a:gd name="connsiteY3" fmla="*/ 6126 h 10000"/>
                <a:gd name="connsiteX4" fmla="*/ 8884 w 10118"/>
                <a:gd name="connsiteY4" fmla="*/ 6126 h 10000"/>
                <a:gd name="connsiteX5" fmla="*/ 9067 w 10118"/>
                <a:gd name="connsiteY5" fmla="*/ 6126 h 10000"/>
                <a:gd name="connsiteX6" fmla="*/ 9250 w 10118"/>
                <a:gd name="connsiteY6" fmla="*/ 6089 h 10000"/>
                <a:gd name="connsiteX7" fmla="*/ 9250 w 10118"/>
                <a:gd name="connsiteY7" fmla="*/ 6089 h 10000"/>
                <a:gd name="connsiteX8" fmla="*/ 9569 w 10118"/>
                <a:gd name="connsiteY8" fmla="*/ 5978 h 10000"/>
                <a:gd name="connsiteX9" fmla="*/ 9569 w 10118"/>
                <a:gd name="connsiteY9" fmla="*/ 5978 h 10000"/>
                <a:gd name="connsiteX10" fmla="*/ 9569 w 10118"/>
                <a:gd name="connsiteY10" fmla="*/ 5978 h 10000"/>
                <a:gd name="connsiteX11" fmla="*/ 9569 w 10118"/>
                <a:gd name="connsiteY11" fmla="*/ 5978 h 10000"/>
                <a:gd name="connsiteX12" fmla="*/ 9569 w 10118"/>
                <a:gd name="connsiteY12" fmla="*/ 5978 h 10000"/>
                <a:gd name="connsiteX13" fmla="*/ 9707 w 10118"/>
                <a:gd name="connsiteY13" fmla="*/ 5904 h 10000"/>
                <a:gd name="connsiteX14" fmla="*/ 9844 w 10118"/>
                <a:gd name="connsiteY14" fmla="*/ 5756 h 10000"/>
                <a:gd name="connsiteX15" fmla="*/ 9935 w 10118"/>
                <a:gd name="connsiteY15" fmla="*/ 5647 h 10000"/>
                <a:gd name="connsiteX16" fmla="*/ 10027 w 10118"/>
                <a:gd name="connsiteY16" fmla="*/ 5461 h 10000"/>
                <a:gd name="connsiteX17" fmla="*/ 10072 w 10118"/>
                <a:gd name="connsiteY17" fmla="*/ 5313 h 10000"/>
                <a:gd name="connsiteX18" fmla="*/ 10118 w 10118"/>
                <a:gd name="connsiteY18" fmla="*/ 5129 h 10000"/>
                <a:gd name="connsiteX19" fmla="*/ 10118 w 10118"/>
                <a:gd name="connsiteY19" fmla="*/ 4945 h 10000"/>
                <a:gd name="connsiteX20" fmla="*/ 10072 w 10118"/>
                <a:gd name="connsiteY20" fmla="*/ 4762 h 10000"/>
                <a:gd name="connsiteX21" fmla="*/ 8793 w 10118"/>
                <a:gd name="connsiteY21" fmla="*/ 885 h 10000"/>
                <a:gd name="connsiteX22" fmla="*/ 8793 w 10118"/>
                <a:gd name="connsiteY22" fmla="*/ 885 h 10000"/>
                <a:gd name="connsiteX23" fmla="*/ 8702 w 10118"/>
                <a:gd name="connsiteY23" fmla="*/ 664 h 10000"/>
                <a:gd name="connsiteX24" fmla="*/ 8565 w 10118"/>
                <a:gd name="connsiteY24" fmla="*/ 480 h 10000"/>
                <a:gd name="connsiteX25" fmla="*/ 8382 w 10118"/>
                <a:gd name="connsiteY25" fmla="*/ 295 h 10000"/>
                <a:gd name="connsiteX26" fmla="*/ 8199 w 10118"/>
                <a:gd name="connsiteY26" fmla="*/ 185 h 10000"/>
                <a:gd name="connsiteX27" fmla="*/ 7971 w 10118"/>
                <a:gd name="connsiteY27" fmla="*/ 75 h 10000"/>
                <a:gd name="connsiteX28" fmla="*/ 7743 w 10118"/>
                <a:gd name="connsiteY28" fmla="*/ 38 h 10000"/>
                <a:gd name="connsiteX29" fmla="*/ 7514 w 10118"/>
                <a:gd name="connsiteY29" fmla="*/ 0 h 10000"/>
                <a:gd name="connsiteX30" fmla="*/ 7286 w 10118"/>
                <a:gd name="connsiteY30" fmla="*/ 38 h 10000"/>
                <a:gd name="connsiteX31" fmla="*/ 7286 w 10118"/>
                <a:gd name="connsiteY31" fmla="*/ 38 h 10000"/>
                <a:gd name="connsiteX32" fmla="*/ 7058 w 10118"/>
                <a:gd name="connsiteY32" fmla="*/ 110 h 10000"/>
                <a:gd name="connsiteX33" fmla="*/ 6875 w 10118"/>
                <a:gd name="connsiteY33" fmla="*/ 222 h 10000"/>
                <a:gd name="connsiteX34" fmla="*/ 6739 w 10118"/>
                <a:gd name="connsiteY34" fmla="*/ 333 h 10000"/>
                <a:gd name="connsiteX35" fmla="*/ 6601 w 10118"/>
                <a:gd name="connsiteY35" fmla="*/ 480 h 10000"/>
                <a:gd name="connsiteX36" fmla="*/ 4408 w 10118"/>
                <a:gd name="connsiteY36" fmla="*/ 1108 h 10000"/>
                <a:gd name="connsiteX37" fmla="*/ 794 w 10118"/>
                <a:gd name="connsiteY37" fmla="*/ 1060 h 10000"/>
                <a:gd name="connsiteX38" fmla="*/ 370 w 10118"/>
                <a:gd name="connsiteY38" fmla="*/ 542 h 10000"/>
                <a:gd name="connsiteX39" fmla="*/ 46 w 10118"/>
                <a:gd name="connsiteY39" fmla="*/ 267 h 10000"/>
                <a:gd name="connsiteX40" fmla="*/ 800 w 10118"/>
                <a:gd name="connsiteY40" fmla="*/ 1181 h 10000"/>
                <a:gd name="connsiteX41" fmla="*/ 800 w 10118"/>
                <a:gd name="connsiteY41" fmla="*/ 1181 h 10000"/>
                <a:gd name="connsiteX42" fmla="*/ 754 w 10118"/>
                <a:gd name="connsiteY42" fmla="*/ 1366 h 10000"/>
                <a:gd name="connsiteX43" fmla="*/ 754 w 10118"/>
                <a:gd name="connsiteY43" fmla="*/ 1366 h 10000"/>
                <a:gd name="connsiteX44" fmla="*/ 754 w 10118"/>
                <a:gd name="connsiteY44" fmla="*/ 1513 h 10000"/>
                <a:gd name="connsiteX45" fmla="*/ 800 w 10118"/>
                <a:gd name="connsiteY45" fmla="*/ 1662 h 10000"/>
                <a:gd name="connsiteX46" fmla="*/ 937 w 10118"/>
                <a:gd name="connsiteY46" fmla="*/ 1771 h 10000"/>
                <a:gd name="connsiteX47" fmla="*/ 1028 w 10118"/>
                <a:gd name="connsiteY47" fmla="*/ 1809 h 10000"/>
                <a:gd name="connsiteX48" fmla="*/ 1348 w 10118"/>
                <a:gd name="connsiteY48" fmla="*/ 1809 h 10000"/>
                <a:gd name="connsiteX49" fmla="*/ 1576 w 10118"/>
                <a:gd name="connsiteY49" fmla="*/ 1809 h 10000"/>
                <a:gd name="connsiteX50" fmla="*/ 1576 w 10118"/>
                <a:gd name="connsiteY50" fmla="*/ 1809 h 10000"/>
                <a:gd name="connsiteX51" fmla="*/ 2170 w 10118"/>
                <a:gd name="connsiteY51" fmla="*/ 1845 h 10000"/>
                <a:gd name="connsiteX52" fmla="*/ 4500 w 10118"/>
                <a:gd name="connsiteY52" fmla="*/ 1957 h 10000"/>
                <a:gd name="connsiteX53" fmla="*/ 4500 w 10118"/>
                <a:gd name="connsiteY53" fmla="*/ 1957 h 10000"/>
                <a:gd name="connsiteX54" fmla="*/ 4545 w 10118"/>
                <a:gd name="connsiteY54" fmla="*/ 1957 h 10000"/>
                <a:gd name="connsiteX55" fmla="*/ 4591 w 10118"/>
                <a:gd name="connsiteY55" fmla="*/ 1957 h 10000"/>
                <a:gd name="connsiteX56" fmla="*/ 4591 w 10118"/>
                <a:gd name="connsiteY56" fmla="*/ 1957 h 10000"/>
                <a:gd name="connsiteX57" fmla="*/ 4681 w 10118"/>
                <a:gd name="connsiteY57" fmla="*/ 1957 h 10000"/>
                <a:gd name="connsiteX58" fmla="*/ 4728 w 10118"/>
                <a:gd name="connsiteY58" fmla="*/ 1918 h 10000"/>
                <a:gd name="connsiteX59" fmla="*/ 6509 w 10118"/>
                <a:gd name="connsiteY59" fmla="*/ 1403 h 10000"/>
                <a:gd name="connsiteX60" fmla="*/ 7514 w 10118"/>
                <a:gd name="connsiteY60" fmla="*/ 4539 h 10000"/>
                <a:gd name="connsiteX61" fmla="*/ 5687 w 10118"/>
                <a:gd name="connsiteY61" fmla="*/ 4428 h 10000"/>
                <a:gd name="connsiteX62" fmla="*/ 3585 w 10118"/>
                <a:gd name="connsiteY62" fmla="*/ 4318 h 10000"/>
                <a:gd name="connsiteX63" fmla="*/ 3585 w 10118"/>
                <a:gd name="connsiteY63" fmla="*/ 4318 h 10000"/>
                <a:gd name="connsiteX64" fmla="*/ 3403 w 10118"/>
                <a:gd name="connsiteY64" fmla="*/ 4354 h 10000"/>
                <a:gd name="connsiteX65" fmla="*/ 3221 w 10118"/>
                <a:gd name="connsiteY65" fmla="*/ 4428 h 10000"/>
                <a:gd name="connsiteX66" fmla="*/ 3083 w 10118"/>
                <a:gd name="connsiteY66" fmla="*/ 4539 h 10000"/>
                <a:gd name="connsiteX67" fmla="*/ 2947 w 10118"/>
                <a:gd name="connsiteY67" fmla="*/ 4687 h 10000"/>
                <a:gd name="connsiteX68" fmla="*/ 2900 w 10118"/>
                <a:gd name="connsiteY68" fmla="*/ 4945 h 10000"/>
                <a:gd name="connsiteX69" fmla="*/ 2900 w 10118"/>
                <a:gd name="connsiteY69" fmla="*/ 9410 h 10000"/>
                <a:gd name="connsiteX70" fmla="*/ 2900 w 10118"/>
                <a:gd name="connsiteY70" fmla="*/ 9410 h 10000"/>
                <a:gd name="connsiteX71" fmla="*/ 2947 w 10118"/>
                <a:gd name="connsiteY71" fmla="*/ 9521 h 10000"/>
                <a:gd name="connsiteX72" fmla="*/ 2992 w 10118"/>
                <a:gd name="connsiteY72" fmla="*/ 9631 h 10000"/>
                <a:gd name="connsiteX73" fmla="*/ 3038 w 10118"/>
                <a:gd name="connsiteY73" fmla="*/ 9741 h 10000"/>
                <a:gd name="connsiteX74" fmla="*/ 3130 w 10118"/>
                <a:gd name="connsiteY74" fmla="*/ 9816 h 10000"/>
                <a:gd name="connsiteX75" fmla="*/ 3266 w 10118"/>
                <a:gd name="connsiteY75" fmla="*/ 9890 h 10000"/>
                <a:gd name="connsiteX76" fmla="*/ 3358 w 10118"/>
                <a:gd name="connsiteY76" fmla="*/ 9964 h 10000"/>
                <a:gd name="connsiteX77" fmla="*/ 3494 w 10118"/>
                <a:gd name="connsiteY77" fmla="*/ 10000 h 10000"/>
                <a:gd name="connsiteX78" fmla="*/ 3677 w 10118"/>
                <a:gd name="connsiteY78" fmla="*/ 10000 h 10000"/>
                <a:gd name="connsiteX79" fmla="*/ 3677 w 10118"/>
                <a:gd name="connsiteY79" fmla="*/ 10000 h 10000"/>
                <a:gd name="connsiteX80" fmla="*/ 3815 w 10118"/>
                <a:gd name="connsiteY80" fmla="*/ 10000 h 10000"/>
                <a:gd name="connsiteX81" fmla="*/ 3952 w 10118"/>
                <a:gd name="connsiteY81" fmla="*/ 9964 h 10000"/>
                <a:gd name="connsiteX82" fmla="*/ 4088 w 10118"/>
                <a:gd name="connsiteY82" fmla="*/ 9890 h 10000"/>
                <a:gd name="connsiteX83" fmla="*/ 4226 w 10118"/>
                <a:gd name="connsiteY83" fmla="*/ 9816 h 10000"/>
                <a:gd name="connsiteX84" fmla="*/ 4317 w 10118"/>
                <a:gd name="connsiteY84" fmla="*/ 9741 h 10000"/>
                <a:gd name="connsiteX85" fmla="*/ 4362 w 10118"/>
                <a:gd name="connsiteY85" fmla="*/ 9631 h 10000"/>
                <a:gd name="connsiteX86" fmla="*/ 4408 w 10118"/>
                <a:gd name="connsiteY86" fmla="*/ 9521 h 10000"/>
                <a:gd name="connsiteX87" fmla="*/ 4408 w 10118"/>
                <a:gd name="connsiteY87" fmla="*/ 9410 h 10000"/>
                <a:gd name="connsiteX88" fmla="*/ 4408 w 10118"/>
                <a:gd name="connsiteY88" fmla="*/ 5683 h 10000"/>
                <a:gd name="connsiteX89" fmla="*/ 6875 w 10118"/>
                <a:gd name="connsiteY89" fmla="*/ 5941 h 10000"/>
                <a:gd name="connsiteX0" fmla="*/ 6505 w 9748"/>
                <a:gd name="connsiteY0" fmla="*/ 5941 h 10000"/>
                <a:gd name="connsiteX1" fmla="*/ 6505 w 9748"/>
                <a:gd name="connsiteY1" fmla="*/ 5941 h 10000"/>
                <a:gd name="connsiteX2" fmla="*/ 7738 w 9748"/>
                <a:gd name="connsiteY2" fmla="*/ 6052 h 10000"/>
                <a:gd name="connsiteX3" fmla="*/ 8514 w 9748"/>
                <a:gd name="connsiteY3" fmla="*/ 6126 h 10000"/>
                <a:gd name="connsiteX4" fmla="*/ 8514 w 9748"/>
                <a:gd name="connsiteY4" fmla="*/ 6126 h 10000"/>
                <a:gd name="connsiteX5" fmla="*/ 8697 w 9748"/>
                <a:gd name="connsiteY5" fmla="*/ 6126 h 10000"/>
                <a:gd name="connsiteX6" fmla="*/ 8880 w 9748"/>
                <a:gd name="connsiteY6" fmla="*/ 6089 h 10000"/>
                <a:gd name="connsiteX7" fmla="*/ 8880 w 9748"/>
                <a:gd name="connsiteY7" fmla="*/ 6089 h 10000"/>
                <a:gd name="connsiteX8" fmla="*/ 9199 w 9748"/>
                <a:gd name="connsiteY8" fmla="*/ 5978 h 10000"/>
                <a:gd name="connsiteX9" fmla="*/ 9199 w 9748"/>
                <a:gd name="connsiteY9" fmla="*/ 5978 h 10000"/>
                <a:gd name="connsiteX10" fmla="*/ 9199 w 9748"/>
                <a:gd name="connsiteY10" fmla="*/ 5978 h 10000"/>
                <a:gd name="connsiteX11" fmla="*/ 9199 w 9748"/>
                <a:gd name="connsiteY11" fmla="*/ 5978 h 10000"/>
                <a:gd name="connsiteX12" fmla="*/ 9199 w 9748"/>
                <a:gd name="connsiteY12" fmla="*/ 5978 h 10000"/>
                <a:gd name="connsiteX13" fmla="*/ 9337 w 9748"/>
                <a:gd name="connsiteY13" fmla="*/ 5904 h 10000"/>
                <a:gd name="connsiteX14" fmla="*/ 9474 w 9748"/>
                <a:gd name="connsiteY14" fmla="*/ 5756 h 10000"/>
                <a:gd name="connsiteX15" fmla="*/ 9565 w 9748"/>
                <a:gd name="connsiteY15" fmla="*/ 5647 h 10000"/>
                <a:gd name="connsiteX16" fmla="*/ 9657 w 9748"/>
                <a:gd name="connsiteY16" fmla="*/ 5461 h 10000"/>
                <a:gd name="connsiteX17" fmla="*/ 9702 w 9748"/>
                <a:gd name="connsiteY17" fmla="*/ 5313 h 10000"/>
                <a:gd name="connsiteX18" fmla="*/ 9748 w 9748"/>
                <a:gd name="connsiteY18" fmla="*/ 5129 h 10000"/>
                <a:gd name="connsiteX19" fmla="*/ 9748 w 9748"/>
                <a:gd name="connsiteY19" fmla="*/ 4945 h 10000"/>
                <a:gd name="connsiteX20" fmla="*/ 9702 w 9748"/>
                <a:gd name="connsiteY20" fmla="*/ 4762 h 10000"/>
                <a:gd name="connsiteX21" fmla="*/ 8423 w 9748"/>
                <a:gd name="connsiteY21" fmla="*/ 885 h 10000"/>
                <a:gd name="connsiteX22" fmla="*/ 8423 w 9748"/>
                <a:gd name="connsiteY22" fmla="*/ 885 h 10000"/>
                <a:gd name="connsiteX23" fmla="*/ 8332 w 9748"/>
                <a:gd name="connsiteY23" fmla="*/ 664 h 10000"/>
                <a:gd name="connsiteX24" fmla="*/ 8195 w 9748"/>
                <a:gd name="connsiteY24" fmla="*/ 480 h 10000"/>
                <a:gd name="connsiteX25" fmla="*/ 8012 w 9748"/>
                <a:gd name="connsiteY25" fmla="*/ 295 h 10000"/>
                <a:gd name="connsiteX26" fmla="*/ 7829 w 9748"/>
                <a:gd name="connsiteY26" fmla="*/ 185 h 10000"/>
                <a:gd name="connsiteX27" fmla="*/ 7601 w 9748"/>
                <a:gd name="connsiteY27" fmla="*/ 75 h 10000"/>
                <a:gd name="connsiteX28" fmla="*/ 7373 w 9748"/>
                <a:gd name="connsiteY28" fmla="*/ 38 h 10000"/>
                <a:gd name="connsiteX29" fmla="*/ 7144 w 9748"/>
                <a:gd name="connsiteY29" fmla="*/ 0 h 10000"/>
                <a:gd name="connsiteX30" fmla="*/ 6916 w 9748"/>
                <a:gd name="connsiteY30" fmla="*/ 38 h 10000"/>
                <a:gd name="connsiteX31" fmla="*/ 6916 w 9748"/>
                <a:gd name="connsiteY31" fmla="*/ 38 h 10000"/>
                <a:gd name="connsiteX32" fmla="*/ 6688 w 9748"/>
                <a:gd name="connsiteY32" fmla="*/ 110 h 10000"/>
                <a:gd name="connsiteX33" fmla="*/ 6505 w 9748"/>
                <a:gd name="connsiteY33" fmla="*/ 222 h 10000"/>
                <a:gd name="connsiteX34" fmla="*/ 6369 w 9748"/>
                <a:gd name="connsiteY34" fmla="*/ 333 h 10000"/>
                <a:gd name="connsiteX35" fmla="*/ 6231 w 9748"/>
                <a:gd name="connsiteY35" fmla="*/ 480 h 10000"/>
                <a:gd name="connsiteX36" fmla="*/ 4038 w 9748"/>
                <a:gd name="connsiteY36" fmla="*/ 1108 h 10000"/>
                <a:gd name="connsiteX37" fmla="*/ 424 w 9748"/>
                <a:gd name="connsiteY37" fmla="*/ 1060 h 10000"/>
                <a:gd name="connsiteX38" fmla="*/ 0 w 9748"/>
                <a:gd name="connsiteY38" fmla="*/ 542 h 10000"/>
                <a:gd name="connsiteX39" fmla="*/ 430 w 9748"/>
                <a:gd name="connsiteY39" fmla="*/ 1181 h 10000"/>
                <a:gd name="connsiteX40" fmla="*/ 430 w 9748"/>
                <a:gd name="connsiteY40" fmla="*/ 1181 h 10000"/>
                <a:gd name="connsiteX41" fmla="*/ 384 w 9748"/>
                <a:gd name="connsiteY41" fmla="*/ 1366 h 10000"/>
                <a:gd name="connsiteX42" fmla="*/ 384 w 9748"/>
                <a:gd name="connsiteY42" fmla="*/ 1366 h 10000"/>
                <a:gd name="connsiteX43" fmla="*/ 384 w 9748"/>
                <a:gd name="connsiteY43" fmla="*/ 1513 h 10000"/>
                <a:gd name="connsiteX44" fmla="*/ 430 w 9748"/>
                <a:gd name="connsiteY44" fmla="*/ 1662 h 10000"/>
                <a:gd name="connsiteX45" fmla="*/ 567 w 9748"/>
                <a:gd name="connsiteY45" fmla="*/ 1771 h 10000"/>
                <a:gd name="connsiteX46" fmla="*/ 658 w 9748"/>
                <a:gd name="connsiteY46" fmla="*/ 1809 h 10000"/>
                <a:gd name="connsiteX47" fmla="*/ 978 w 9748"/>
                <a:gd name="connsiteY47" fmla="*/ 1809 h 10000"/>
                <a:gd name="connsiteX48" fmla="*/ 1206 w 9748"/>
                <a:gd name="connsiteY48" fmla="*/ 1809 h 10000"/>
                <a:gd name="connsiteX49" fmla="*/ 1206 w 9748"/>
                <a:gd name="connsiteY49" fmla="*/ 1809 h 10000"/>
                <a:gd name="connsiteX50" fmla="*/ 1800 w 9748"/>
                <a:gd name="connsiteY50" fmla="*/ 1845 h 10000"/>
                <a:gd name="connsiteX51" fmla="*/ 4130 w 9748"/>
                <a:gd name="connsiteY51" fmla="*/ 1957 h 10000"/>
                <a:gd name="connsiteX52" fmla="*/ 4130 w 9748"/>
                <a:gd name="connsiteY52" fmla="*/ 1957 h 10000"/>
                <a:gd name="connsiteX53" fmla="*/ 4175 w 9748"/>
                <a:gd name="connsiteY53" fmla="*/ 1957 h 10000"/>
                <a:gd name="connsiteX54" fmla="*/ 4221 w 9748"/>
                <a:gd name="connsiteY54" fmla="*/ 1957 h 10000"/>
                <a:gd name="connsiteX55" fmla="*/ 4221 w 9748"/>
                <a:gd name="connsiteY55" fmla="*/ 1957 h 10000"/>
                <a:gd name="connsiteX56" fmla="*/ 4311 w 9748"/>
                <a:gd name="connsiteY56" fmla="*/ 1957 h 10000"/>
                <a:gd name="connsiteX57" fmla="*/ 4358 w 9748"/>
                <a:gd name="connsiteY57" fmla="*/ 1918 h 10000"/>
                <a:gd name="connsiteX58" fmla="*/ 6139 w 9748"/>
                <a:gd name="connsiteY58" fmla="*/ 1403 h 10000"/>
                <a:gd name="connsiteX59" fmla="*/ 7144 w 9748"/>
                <a:gd name="connsiteY59" fmla="*/ 4539 h 10000"/>
                <a:gd name="connsiteX60" fmla="*/ 5317 w 9748"/>
                <a:gd name="connsiteY60" fmla="*/ 4428 h 10000"/>
                <a:gd name="connsiteX61" fmla="*/ 3215 w 9748"/>
                <a:gd name="connsiteY61" fmla="*/ 4318 h 10000"/>
                <a:gd name="connsiteX62" fmla="*/ 3215 w 9748"/>
                <a:gd name="connsiteY62" fmla="*/ 4318 h 10000"/>
                <a:gd name="connsiteX63" fmla="*/ 3033 w 9748"/>
                <a:gd name="connsiteY63" fmla="*/ 4354 h 10000"/>
                <a:gd name="connsiteX64" fmla="*/ 2851 w 9748"/>
                <a:gd name="connsiteY64" fmla="*/ 4428 h 10000"/>
                <a:gd name="connsiteX65" fmla="*/ 2713 w 9748"/>
                <a:gd name="connsiteY65" fmla="*/ 4539 h 10000"/>
                <a:gd name="connsiteX66" fmla="*/ 2577 w 9748"/>
                <a:gd name="connsiteY66" fmla="*/ 4687 h 10000"/>
                <a:gd name="connsiteX67" fmla="*/ 2530 w 9748"/>
                <a:gd name="connsiteY67" fmla="*/ 4945 h 10000"/>
                <a:gd name="connsiteX68" fmla="*/ 2530 w 9748"/>
                <a:gd name="connsiteY68" fmla="*/ 9410 h 10000"/>
                <a:gd name="connsiteX69" fmla="*/ 2530 w 9748"/>
                <a:gd name="connsiteY69" fmla="*/ 9410 h 10000"/>
                <a:gd name="connsiteX70" fmla="*/ 2577 w 9748"/>
                <a:gd name="connsiteY70" fmla="*/ 9521 h 10000"/>
                <a:gd name="connsiteX71" fmla="*/ 2622 w 9748"/>
                <a:gd name="connsiteY71" fmla="*/ 9631 h 10000"/>
                <a:gd name="connsiteX72" fmla="*/ 2668 w 9748"/>
                <a:gd name="connsiteY72" fmla="*/ 9741 h 10000"/>
                <a:gd name="connsiteX73" fmla="*/ 2760 w 9748"/>
                <a:gd name="connsiteY73" fmla="*/ 9816 h 10000"/>
                <a:gd name="connsiteX74" fmla="*/ 2896 w 9748"/>
                <a:gd name="connsiteY74" fmla="*/ 9890 h 10000"/>
                <a:gd name="connsiteX75" fmla="*/ 2988 w 9748"/>
                <a:gd name="connsiteY75" fmla="*/ 9964 h 10000"/>
                <a:gd name="connsiteX76" fmla="*/ 3124 w 9748"/>
                <a:gd name="connsiteY76" fmla="*/ 10000 h 10000"/>
                <a:gd name="connsiteX77" fmla="*/ 3307 w 9748"/>
                <a:gd name="connsiteY77" fmla="*/ 10000 h 10000"/>
                <a:gd name="connsiteX78" fmla="*/ 3307 w 9748"/>
                <a:gd name="connsiteY78" fmla="*/ 10000 h 10000"/>
                <a:gd name="connsiteX79" fmla="*/ 3445 w 9748"/>
                <a:gd name="connsiteY79" fmla="*/ 10000 h 10000"/>
                <a:gd name="connsiteX80" fmla="*/ 3582 w 9748"/>
                <a:gd name="connsiteY80" fmla="*/ 9964 h 10000"/>
                <a:gd name="connsiteX81" fmla="*/ 3718 w 9748"/>
                <a:gd name="connsiteY81" fmla="*/ 9890 h 10000"/>
                <a:gd name="connsiteX82" fmla="*/ 3856 w 9748"/>
                <a:gd name="connsiteY82" fmla="*/ 9816 h 10000"/>
                <a:gd name="connsiteX83" fmla="*/ 3947 w 9748"/>
                <a:gd name="connsiteY83" fmla="*/ 9741 h 10000"/>
                <a:gd name="connsiteX84" fmla="*/ 3992 w 9748"/>
                <a:gd name="connsiteY84" fmla="*/ 9631 h 10000"/>
                <a:gd name="connsiteX85" fmla="*/ 4038 w 9748"/>
                <a:gd name="connsiteY85" fmla="*/ 9521 h 10000"/>
                <a:gd name="connsiteX86" fmla="*/ 4038 w 9748"/>
                <a:gd name="connsiteY86" fmla="*/ 9410 h 10000"/>
                <a:gd name="connsiteX87" fmla="*/ 4038 w 9748"/>
                <a:gd name="connsiteY87" fmla="*/ 5683 h 10000"/>
                <a:gd name="connsiteX88" fmla="*/ 6505 w 9748"/>
                <a:gd name="connsiteY88" fmla="*/ 5941 h 10000"/>
                <a:gd name="connsiteX0" fmla="*/ 6530 w 9857"/>
                <a:gd name="connsiteY0" fmla="*/ 5941 h 10000"/>
                <a:gd name="connsiteX1" fmla="*/ 6530 w 9857"/>
                <a:gd name="connsiteY1" fmla="*/ 5941 h 10000"/>
                <a:gd name="connsiteX2" fmla="*/ 7795 w 9857"/>
                <a:gd name="connsiteY2" fmla="*/ 6052 h 10000"/>
                <a:gd name="connsiteX3" fmla="*/ 8591 w 9857"/>
                <a:gd name="connsiteY3" fmla="*/ 6126 h 10000"/>
                <a:gd name="connsiteX4" fmla="*/ 8591 w 9857"/>
                <a:gd name="connsiteY4" fmla="*/ 6126 h 10000"/>
                <a:gd name="connsiteX5" fmla="*/ 8779 w 9857"/>
                <a:gd name="connsiteY5" fmla="*/ 6126 h 10000"/>
                <a:gd name="connsiteX6" fmla="*/ 8967 w 9857"/>
                <a:gd name="connsiteY6" fmla="*/ 6089 h 10000"/>
                <a:gd name="connsiteX7" fmla="*/ 8967 w 9857"/>
                <a:gd name="connsiteY7" fmla="*/ 6089 h 10000"/>
                <a:gd name="connsiteX8" fmla="*/ 9294 w 9857"/>
                <a:gd name="connsiteY8" fmla="*/ 5978 h 10000"/>
                <a:gd name="connsiteX9" fmla="*/ 9294 w 9857"/>
                <a:gd name="connsiteY9" fmla="*/ 5978 h 10000"/>
                <a:gd name="connsiteX10" fmla="*/ 9294 w 9857"/>
                <a:gd name="connsiteY10" fmla="*/ 5978 h 10000"/>
                <a:gd name="connsiteX11" fmla="*/ 9294 w 9857"/>
                <a:gd name="connsiteY11" fmla="*/ 5978 h 10000"/>
                <a:gd name="connsiteX12" fmla="*/ 9294 w 9857"/>
                <a:gd name="connsiteY12" fmla="*/ 5978 h 10000"/>
                <a:gd name="connsiteX13" fmla="*/ 9435 w 9857"/>
                <a:gd name="connsiteY13" fmla="*/ 5904 h 10000"/>
                <a:gd name="connsiteX14" fmla="*/ 9576 w 9857"/>
                <a:gd name="connsiteY14" fmla="*/ 5756 h 10000"/>
                <a:gd name="connsiteX15" fmla="*/ 9669 w 9857"/>
                <a:gd name="connsiteY15" fmla="*/ 5647 h 10000"/>
                <a:gd name="connsiteX16" fmla="*/ 9764 w 9857"/>
                <a:gd name="connsiteY16" fmla="*/ 5461 h 10000"/>
                <a:gd name="connsiteX17" fmla="*/ 9810 w 9857"/>
                <a:gd name="connsiteY17" fmla="*/ 5313 h 10000"/>
                <a:gd name="connsiteX18" fmla="*/ 9857 w 9857"/>
                <a:gd name="connsiteY18" fmla="*/ 5129 h 10000"/>
                <a:gd name="connsiteX19" fmla="*/ 9857 w 9857"/>
                <a:gd name="connsiteY19" fmla="*/ 4945 h 10000"/>
                <a:gd name="connsiteX20" fmla="*/ 9810 w 9857"/>
                <a:gd name="connsiteY20" fmla="*/ 4762 h 10000"/>
                <a:gd name="connsiteX21" fmla="*/ 8498 w 9857"/>
                <a:gd name="connsiteY21" fmla="*/ 885 h 10000"/>
                <a:gd name="connsiteX22" fmla="*/ 8498 w 9857"/>
                <a:gd name="connsiteY22" fmla="*/ 885 h 10000"/>
                <a:gd name="connsiteX23" fmla="*/ 8404 w 9857"/>
                <a:gd name="connsiteY23" fmla="*/ 664 h 10000"/>
                <a:gd name="connsiteX24" fmla="*/ 8264 w 9857"/>
                <a:gd name="connsiteY24" fmla="*/ 480 h 10000"/>
                <a:gd name="connsiteX25" fmla="*/ 8076 w 9857"/>
                <a:gd name="connsiteY25" fmla="*/ 295 h 10000"/>
                <a:gd name="connsiteX26" fmla="*/ 7888 w 9857"/>
                <a:gd name="connsiteY26" fmla="*/ 185 h 10000"/>
                <a:gd name="connsiteX27" fmla="*/ 7654 w 9857"/>
                <a:gd name="connsiteY27" fmla="*/ 75 h 10000"/>
                <a:gd name="connsiteX28" fmla="*/ 7421 w 9857"/>
                <a:gd name="connsiteY28" fmla="*/ 38 h 10000"/>
                <a:gd name="connsiteX29" fmla="*/ 7186 w 9857"/>
                <a:gd name="connsiteY29" fmla="*/ 0 h 10000"/>
                <a:gd name="connsiteX30" fmla="*/ 6952 w 9857"/>
                <a:gd name="connsiteY30" fmla="*/ 38 h 10000"/>
                <a:gd name="connsiteX31" fmla="*/ 6952 w 9857"/>
                <a:gd name="connsiteY31" fmla="*/ 38 h 10000"/>
                <a:gd name="connsiteX32" fmla="*/ 6718 w 9857"/>
                <a:gd name="connsiteY32" fmla="*/ 110 h 10000"/>
                <a:gd name="connsiteX33" fmla="*/ 6530 w 9857"/>
                <a:gd name="connsiteY33" fmla="*/ 222 h 10000"/>
                <a:gd name="connsiteX34" fmla="*/ 6391 w 9857"/>
                <a:gd name="connsiteY34" fmla="*/ 333 h 10000"/>
                <a:gd name="connsiteX35" fmla="*/ 6249 w 9857"/>
                <a:gd name="connsiteY35" fmla="*/ 480 h 10000"/>
                <a:gd name="connsiteX36" fmla="*/ 3999 w 9857"/>
                <a:gd name="connsiteY36" fmla="*/ 1108 h 10000"/>
                <a:gd name="connsiteX37" fmla="*/ 292 w 9857"/>
                <a:gd name="connsiteY37" fmla="*/ 1060 h 10000"/>
                <a:gd name="connsiteX38" fmla="*/ 0 w 9857"/>
                <a:gd name="connsiteY38" fmla="*/ 790 h 10000"/>
                <a:gd name="connsiteX39" fmla="*/ 298 w 9857"/>
                <a:gd name="connsiteY39" fmla="*/ 1181 h 10000"/>
                <a:gd name="connsiteX40" fmla="*/ 298 w 9857"/>
                <a:gd name="connsiteY40" fmla="*/ 1181 h 10000"/>
                <a:gd name="connsiteX41" fmla="*/ 251 w 9857"/>
                <a:gd name="connsiteY41" fmla="*/ 1366 h 10000"/>
                <a:gd name="connsiteX42" fmla="*/ 251 w 9857"/>
                <a:gd name="connsiteY42" fmla="*/ 1366 h 10000"/>
                <a:gd name="connsiteX43" fmla="*/ 251 w 9857"/>
                <a:gd name="connsiteY43" fmla="*/ 1513 h 10000"/>
                <a:gd name="connsiteX44" fmla="*/ 298 w 9857"/>
                <a:gd name="connsiteY44" fmla="*/ 1662 h 10000"/>
                <a:gd name="connsiteX45" fmla="*/ 439 w 9857"/>
                <a:gd name="connsiteY45" fmla="*/ 1771 h 10000"/>
                <a:gd name="connsiteX46" fmla="*/ 532 w 9857"/>
                <a:gd name="connsiteY46" fmla="*/ 1809 h 10000"/>
                <a:gd name="connsiteX47" fmla="*/ 860 w 9857"/>
                <a:gd name="connsiteY47" fmla="*/ 1809 h 10000"/>
                <a:gd name="connsiteX48" fmla="*/ 1094 w 9857"/>
                <a:gd name="connsiteY48" fmla="*/ 1809 h 10000"/>
                <a:gd name="connsiteX49" fmla="*/ 1094 w 9857"/>
                <a:gd name="connsiteY49" fmla="*/ 1809 h 10000"/>
                <a:gd name="connsiteX50" fmla="*/ 1704 w 9857"/>
                <a:gd name="connsiteY50" fmla="*/ 1845 h 10000"/>
                <a:gd name="connsiteX51" fmla="*/ 4094 w 9857"/>
                <a:gd name="connsiteY51" fmla="*/ 1957 h 10000"/>
                <a:gd name="connsiteX52" fmla="*/ 4094 w 9857"/>
                <a:gd name="connsiteY52" fmla="*/ 1957 h 10000"/>
                <a:gd name="connsiteX53" fmla="*/ 4140 w 9857"/>
                <a:gd name="connsiteY53" fmla="*/ 1957 h 10000"/>
                <a:gd name="connsiteX54" fmla="*/ 4187 w 9857"/>
                <a:gd name="connsiteY54" fmla="*/ 1957 h 10000"/>
                <a:gd name="connsiteX55" fmla="*/ 4187 w 9857"/>
                <a:gd name="connsiteY55" fmla="*/ 1957 h 10000"/>
                <a:gd name="connsiteX56" fmla="*/ 4279 w 9857"/>
                <a:gd name="connsiteY56" fmla="*/ 1957 h 10000"/>
                <a:gd name="connsiteX57" fmla="*/ 4328 w 9857"/>
                <a:gd name="connsiteY57" fmla="*/ 1918 h 10000"/>
                <a:gd name="connsiteX58" fmla="*/ 6155 w 9857"/>
                <a:gd name="connsiteY58" fmla="*/ 1403 h 10000"/>
                <a:gd name="connsiteX59" fmla="*/ 7186 w 9857"/>
                <a:gd name="connsiteY59" fmla="*/ 4539 h 10000"/>
                <a:gd name="connsiteX60" fmla="*/ 5311 w 9857"/>
                <a:gd name="connsiteY60" fmla="*/ 4428 h 10000"/>
                <a:gd name="connsiteX61" fmla="*/ 3155 w 9857"/>
                <a:gd name="connsiteY61" fmla="*/ 4318 h 10000"/>
                <a:gd name="connsiteX62" fmla="*/ 3155 w 9857"/>
                <a:gd name="connsiteY62" fmla="*/ 4318 h 10000"/>
                <a:gd name="connsiteX63" fmla="*/ 2968 w 9857"/>
                <a:gd name="connsiteY63" fmla="*/ 4354 h 10000"/>
                <a:gd name="connsiteX64" fmla="*/ 2782 w 9857"/>
                <a:gd name="connsiteY64" fmla="*/ 4428 h 10000"/>
                <a:gd name="connsiteX65" fmla="*/ 2640 w 9857"/>
                <a:gd name="connsiteY65" fmla="*/ 4539 h 10000"/>
                <a:gd name="connsiteX66" fmla="*/ 2501 w 9857"/>
                <a:gd name="connsiteY66" fmla="*/ 4687 h 10000"/>
                <a:gd name="connsiteX67" fmla="*/ 2452 w 9857"/>
                <a:gd name="connsiteY67" fmla="*/ 4945 h 10000"/>
                <a:gd name="connsiteX68" fmla="*/ 2452 w 9857"/>
                <a:gd name="connsiteY68" fmla="*/ 9410 h 10000"/>
                <a:gd name="connsiteX69" fmla="*/ 2452 w 9857"/>
                <a:gd name="connsiteY69" fmla="*/ 9410 h 10000"/>
                <a:gd name="connsiteX70" fmla="*/ 2501 w 9857"/>
                <a:gd name="connsiteY70" fmla="*/ 9521 h 10000"/>
                <a:gd name="connsiteX71" fmla="*/ 2547 w 9857"/>
                <a:gd name="connsiteY71" fmla="*/ 9631 h 10000"/>
                <a:gd name="connsiteX72" fmla="*/ 2594 w 9857"/>
                <a:gd name="connsiteY72" fmla="*/ 9741 h 10000"/>
                <a:gd name="connsiteX73" fmla="*/ 2688 w 9857"/>
                <a:gd name="connsiteY73" fmla="*/ 9816 h 10000"/>
                <a:gd name="connsiteX74" fmla="*/ 2828 w 9857"/>
                <a:gd name="connsiteY74" fmla="*/ 9890 h 10000"/>
                <a:gd name="connsiteX75" fmla="*/ 2922 w 9857"/>
                <a:gd name="connsiteY75" fmla="*/ 9964 h 10000"/>
                <a:gd name="connsiteX76" fmla="*/ 3062 w 9857"/>
                <a:gd name="connsiteY76" fmla="*/ 10000 h 10000"/>
                <a:gd name="connsiteX77" fmla="*/ 3249 w 9857"/>
                <a:gd name="connsiteY77" fmla="*/ 10000 h 10000"/>
                <a:gd name="connsiteX78" fmla="*/ 3249 w 9857"/>
                <a:gd name="connsiteY78" fmla="*/ 10000 h 10000"/>
                <a:gd name="connsiteX79" fmla="*/ 3391 w 9857"/>
                <a:gd name="connsiteY79" fmla="*/ 10000 h 10000"/>
                <a:gd name="connsiteX80" fmla="*/ 3532 w 9857"/>
                <a:gd name="connsiteY80" fmla="*/ 9964 h 10000"/>
                <a:gd name="connsiteX81" fmla="*/ 3671 w 9857"/>
                <a:gd name="connsiteY81" fmla="*/ 9890 h 10000"/>
                <a:gd name="connsiteX82" fmla="*/ 3813 w 9857"/>
                <a:gd name="connsiteY82" fmla="*/ 9816 h 10000"/>
                <a:gd name="connsiteX83" fmla="*/ 3906 w 9857"/>
                <a:gd name="connsiteY83" fmla="*/ 9741 h 10000"/>
                <a:gd name="connsiteX84" fmla="*/ 3952 w 9857"/>
                <a:gd name="connsiteY84" fmla="*/ 9631 h 10000"/>
                <a:gd name="connsiteX85" fmla="*/ 3999 w 9857"/>
                <a:gd name="connsiteY85" fmla="*/ 9521 h 10000"/>
                <a:gd name="connsiteX86" fmla="*/ 3999 w 9857"/>
                <a:gd name="connsiteY86" fmla="*/ 9410 h 10000"/>
                <a:gd name="connsiteX87" fmla="*/ 3999 w 9857"/>
                <a:gd name="connsiteY87" fmla="*/ 5683 h 10000"/>
                <a:gd name="connsiteX88" fmla="*/ 6530 w 9857"/>
                <a:gd name="connsiteY88" fmla="*/ 5941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9857" h="10000">
                  <a:moveTo>
                    <a:pt x="6530" y="5941"/>
                  </a:moveTo>
                  <a:lnTo>
                    <a:pt x="6530" y="5941"/>
                  </a:lnTo>
                  <a:lnTo>
                    <a:pt x="7795" y="6052"/>
                  </a:lnTo>
                  <a:lnTo>
                    <a:pt x="8591" y="6126"/>
                  </a:lnTo>
                  <a:lnTo>
                    <a:pt x="8591" y="6126"/>
                  </a:lnTo>
                  <a:lnTo>
                    <a:pt x="8779" y="6126"/>
                  </a:lnTo>
                  <a:lnTo>
                    <a:pt x="8967" y="6089"/>
                  </a:lnTo>
                  <a:lnTo>
                    <a:pt x="8967" y="6089"/>
                  </a:lnTo>
                  <a:lnTo>
                    <a:pt x="9294" y="5978"/>
                  </a:lnTo>
                  <a:lnTo>
                    <a:pt x="9294" y="5978"/>
                  </a:lnTo>
                  <a:lnTo>
                    <a:pt x="9294" y="5978"/>
                  </a:lnTo>
                  <a:lnTo>
                    <a:pt x="9294" y="5978"/>
                  </a:lnTo>
                  <a:lnTo>
                    <a:pt x="9294" y="5978"/>
                  </a:lnTo>
                  <a:lnTo>
                    <a:pt x="9435" y="5904"/>
                  </a:lnTo>
                  <a:cubicBezTo>
                    <a:pt x="9483" y="5855"/>
                    <a:pt x="9529" y="5805"/>
                    <a:pt x="9576" y="5756"/>
                  </a:cubicBezTo>
                  <a:cubicBezTo>
                    <a:pt x="9607" y="5720"/>
                    <a:pt x="9637" y="5683"/>
                    <a:pt x="9669" y="5647"/>
                  </a:cubicBezTo>
                  <a:cubicBezTo>
                    <a:pt x="9700" y="5585"/>
                    <a:pt x="9733" y="5523"/>
                    <a:pt x="9764" y="5461"/>
                  </a:cubicBezTo>
                  <a:cubicBezTo>
                    <a:pt x="9779" y="5412"/>
                    <a:pt x="9794" y="5363"/>
                    <a:pt x="9810" y="5313"/>
                  </a:cubicBezTo>
                  <a:cubicBezTo>
                    <a:pt x="9826" y="5252"/>
                    <a:pt x="9842" y="5191"/>
                    <a:pt x="9857" y="5129"/>
                  </a:cubicBezTo>
                  <a:lnTo>
                    <a:pt x="9857" y="4945"/>
                  </a:lnTo>
                  <a:cubicBezTo>
                    <a:pt x="9842" y="4884"/>
                    <a:pt x="9826" y="4822"/>
                    <a:pt x="9810" y="4762"/>
                  </a:cubicBezTo>
                  <a:lnTo>
                    <a:pt x="8498" y="885"/>
                  </a:lnTo>
                  <a:lnTo>
                    <a:pt x="8498" y="885"/>
                  </a:lnTo>
                  <a:cubicBezTo>
                    <a:pt x="8468" y="812"/>
                    <a:pt x="8434" y="738"/>
                    <a:pt x="8404" y="664"/>
                  </a:cubicBezTo>
                  <a:cubicBezTo>
                    <a:pt x="8357" y="603"/>
                    <a:pt x="8311" y="541"/>
                    <a:pt x="8264" y="480"/>
                  </a:cubicBezTo>
                  <a:lnTo>
                    <a:pt x="8076" y="295"/>
                  </a:lnTo>
                  <a:lnTo>
                    <a:pt x="7888" y="185"/>
                  </a:lnTo>
                  <a:lnTo>
                    <a:pt x="7654" y="75"/>
                  </a:lnTo>
                  <a:lnTo>
                    <a:pt x="7421" y="38"/>
                  </a:lnTo>
                  <a:lnTo>
                    <a:pt x="7186" y="0"/>
                  </a:lnTo>
                  <a:lnTo>
                    <a:pt x="6952" y="38"/>
                  </a:lnTo>
                  <a:lnTo>
                    <a:pt x="6952" y="38"/>
                  </a:lnTo>
                  <a:lnTo>
                    <a:pt x="6718" y="110"/>
                  </a:lnTo>
                  <a:lnTo>
                    <a:pt x="6530" y="222"/>
                  </a:lnTo>
                  <a:lnTo>
                    <a:pt x="6391" y="333"/>
                  </a:lnTo>
                  <a:cubicBezTo>
                    <a:pt x="6342" y="381"/>
                    <a:pt x="6297" y="431"/>
                    <a:pt x="6249" y="480"/>
                  </a:cubicBezTo>
                  <a:lnTo>
                    <a:pt x="3999" y="1108"/>
                  </a:lnTo>
                  <a:lnTo>
                    <a:pt x="292" y="1060"/>
                  </a:lnTo>
                  <a:lnTo>
                    <a:pt x="0" y="790"/>
                  </a:lnTo>
                  <a:cubicBezTo>
                    <a:pt x="1" y="810"/>
                    <a:pt x="224" y="1075"/>
                    <a:pt x="298" y="1181"/>
                  </a:cubicBezTo>
                  <a:lnTo>
                    <a:pt x="298" y="1181"/>
                  </a:lnTo>
                  <a:cubicBezTo>
                    <a:pt x="282" y="1243"/>
                    <a:pt x="267" y="1304"/>
                    <a:pt x="251" y="1366"/>
                  </a:cubicBezTo>
                  <a:lnTo>
                    <a:pt x="251" y="1366"/>
                  </a:lnTo>
                  <a:lnTo>
                    <a:pt x="251" y="1513"/>
                  </a:lnTo>
                  <a:cubicBezTo>
                    <a:pt x="267" y="1562"/>
                    <a:pt x="282" y="1611"/>
                    <a:pt x="298" y="1662"/>
                  </a:cubicBezTo>
                  <a:cubicBezTo>
                    <a:pt x="345" y="1697"/>
                    <a:pt x="391" y="1734"/>
                    <a:pt x="439" y="1771"/>
                  </a:cubicBezTo>
                  <a:lnTo>
                    <a:pt x="532" y="1809"/>
                  </a:lnTo>
                  <a:lnTo>
                    <a:pt x="860" y="1809"/>
                  </a:lnTo>
                  <a:lnTo>
                    <a:pt x="1094" y="1809"/>
                  </a:lnTo>
                  <a:lnTo>
                    <a:pt x="1094" y="1809"/>
                  </a:lnTo>
                  <a:lnTo>
                    <a:pt x="1704" y="1845"/>
                  </a:lnTo>
                  <a:lnTo>
                    <a:pt x="4094" y="1957"/>
                  </a:lnTo>
                  <a:lnTo>
                    <a:pt x="4094" y="1957"/>
                  </a:lnTo>
                  <a:lnTo>
                    <a:pt x="4140" y="1957"/>
                  </a:lnTo>
                  <a:lnTo>
                    <a:pt x="4187" y="1957"/>
                  </a:lnTo>
                  <a:lnTo>
                    <a:pt x="4187" y="1957"/>
                  </a:lnTo>
                  <a:lnTo>
                    <a:pt x="4279" y="1957"/>
                  </a:lnTo>
                  <a:cubicBezTo>
                    <a:pt x="4296" y="1945"/>
                    <a:pt x="4311" y="1932"/>
                    <a:pt x="4328" y="1918"/>
                  </a:cubicBezTo>
                  <a:lnTo>
                    <a:pt x="6155" y="1403"/>
                  </a:lnTo>
                  <a:lnTo>
                    <a:pt x="7186" y="4539"/>
                  </a:lnTo>
                  <a:lnTo>
                    <a:pt x="5311" y="4428"/>
                  </a:lnTo>
                  <a:lnTo>
                    <a:pt x="3155" y="4318"/>
                  </a:lnTo>
                  <a:lnTo>
                    <a:pt x="3155" y="4318"/>
                  </a:lnTo>
                  <a:lnTo>
                    <a:pt x="2968" y="4354"/>
                  </a:lnTo>
                  <a:lnTo>
                    <a:pt x="2782" y="4428"/>
                  </a:lnTo>
                  <a:cubicBezTo>
                    <a:pt x="2733" y="4465"/>
                    <a:pt x="2688" y="4502"/>
                    <a:pt x="2640" y="4539"/>
                  </a:cubicBezTo>
                  <a:lnTo>
                    <a:pt x="2501" y="4687"/>
                  </a:lnTo>
                  <a:cubicBezTo>
                    <a:pt x="2483" y="4774"/>
                    <a:pt x="2469" y="4859"/>
                    <a:pt x="2452" y="4945"/>
                  </a:cubicBezTo>
                  <a:lnTo>
                    <a:pt x="2452" y="9410"/>
                  </a:lnTo>
                  <a:lnTo>
                    <a:pt x="2452" y="9410"/>
                  </a:lnTo>
                  <a:cubicBezTo>
                    <a:pt x="2469" y="9446"/>
                    <a:pt x="2483" y="9485"/>
                    <a:pt x="2501" y="9521"/>
                  </a:cubicBezTo>
                  <a:cubicBezTo>
                    <a:pt x="2516" y="9557"/>
                    <a:pt x="2531" y="9594"/>
                    <a:pt x="2547" y="9631"/>
                  </a:cubicBezTo>
                  <a:cubicBezTo>
                    <a:pt x="2562" y="9668"/>
                    <a:pt x="2579" y="9705"/>
                    <a:pt x="2594" y="9741"/>
                  </a:cubicBezTo>
                  <a:cubicBezTo>
                    <a:pt x="2625" y="9767"/>
                    <a:pt x="2657" y="9792"/>
                    <a:pt x="2688" y="9816"/>
                  </a:cubicBezTo>
                  <a:lnTo>
                    <a:pt x="2828" y="9890"/>
                  </a:lnTo>
                  <a:cubicBezTo>
                    <a:pt x="2860" y="9914"/>
                    <a:pt x="2890" y="9939"/>
                    <a:pt x="2922" y="9964"/>
                  </a:cubicBezTo>
                  <a:lnTo>
                    <a:pt x="3062" y="10000"/>
                  </a:lnTo>
                  <a:lnTo>
                    <a:pt x="3249" y="10000"/>
                  </a:lnTo>
                  <a:lnTo>
                    <a:pt x="3249" y="10000"/>
                  </a:lnTo>
                  <a:lnTo>
                    <a:pt x="3391" y="10000"/>
                  </a:lnTo>
                  <a:lnTo>
                    <a:pt x="3532" y="9964"/>
                  </a:lnTo>
                  <a:cubicBezTo>
                    <a:pt x="3578" y="9939"/>
                    <a:pt x="3625" y="9915"/>
                    <a:pt x="3671" y="9890"/>
                  </a:cubicBezTo>
                  <a:cubicBezTo>
                    <a:pt x="3718" y="9865"/>
                    <a:pt x="3766" y="9841"/>
                    <a:pt x="3813" y="9816"/>
                  </a:cubicBezTo>
                  <a:cubicBezTo>
                    <a:pt x="3843" y="9792"/>
                    <a:pt x="3875" y="9767"/>
                    <a:pt x="3906" y="9741"/>
                  </a:cubicBezTo>
                  <a:cubicBezTo>
                    <a:pt x="3921" y="9705"/>
                    <a:pt x="3937" y="9668"/>
                    <a:pt x="3952" y="9631"/>
                  </a:cubicBezTo>
                  <a:cubicBezTo>
                    <a:pt x="3969" y="9594"/>
                    <a:pt x="3984" y="9557"/>
                    <a:pt x="3999" y="9521"/>
                  </a:cubicBezTo>
                  <a:lnTo>
                    <a:pt x="3999" y="9410"/>
                  </a:lnTo>
                  <a:lnTo>
                    <a:pt x="3999" y="5683"/>
                  </a:lnTo>
                  <a:lnTo>
                    <a:pt x="6530" y="5941"/>
                  </a:lnTo>
                  <a:close/>
                </a:path>
              </a:pathLst>
            </a:custGeom>
            <a:solidFill>
              <a:srgbClr val="7C25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0" name="Oval 79"/>
            <p:cNvSpPr/>
            <p:nvPr/>
          </p:nvSpPr>
          <p:spPr bwMode="gray">
            <a:xfrm rot="1561334">
              <a:off x="485338" y="4940602"/>
              <a:ext cx="9264" cy="14013"/>
            </a:xfrm>
            <a:prstGeom prst="ellipse">
              <a:avLst/>
            </a:prstGeom>
            <a:solidFill>
              <a:srgbClr val="7C252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1" name="Rectangle 80"/>
            <p:cNvSpPr/>
            <p:nvPr/>
          </p:nvSpPr>
          <p:spPr bwMode="gray">
            <a:xfrm>
              <a:off x="147238" y="5165940"/>
              <a:ext cx="208726" cy="11100"/>
            </a:xfrm>
            <a:prstGeom prst="rect">
              <a:avLst/>
            </a:prstGeom>
            <a:solidFill>
              <a:srgbClr val="7C252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2" name="Rectangle 81"/>
            <p:cNvSpPr/>
            <p:nvPr/>
          </p:nvSpPr>
          <p:spPr bwMode="gray">
            <a:xfrm>
              <a:off x="321225" y="5177039"/>
              <a:ext cx="18255" cy="136412"/>
            </a:xfrm>
            <a:prstGeom prst="rect">
              <a:avLst/>
            </a:prstGeom>
            <a:solidFill>
              <a:srgbClr val="7C252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3" name="Rectangle 82"/>
            <p:cNvSpPr/>
            <p:nvPr/>
          </p:nvSpPr>
          <p:spPr bwMode="gray">
            <a:xfrm>
              <a:off x="159944" y="5177039"/>
              <a:ext cx="18255" cy="136412"/>
            </a:xfrm>
            <a:prstGeom prst="rect">
              <a:avLst/>
            </a:prstGeom>
            <a:solidFill>
              <a:srgbClr val="7C252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4" name="Rectangle 83"/>
            <p:cNvSpPr/>
            <p:nvPr/>
          </p:nvSpPr>
          <p:spPr bwMode="gray">
            <a:xfrm>
              <a:off x="159944" y="4920726"/>
              <a:ext cx="18255" cy="245214"/>
            </a:xfrm>
            <a:prstGeom prst="rect">
              <a:avLst/>
            </a:prstGeom>
            <a:solidFill>
              <a:srgbClr val="7C252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5" name="Rectangle 84"/>
            <p:cNvSpPr/>
            <p:nvPr/>
          </p:nvSpPr>
          <p:spPr bwMode="gray">
            <a:xfrm>
              <a:off x="417916" y="5037783"/>
              <a:ext cx="333346" cy="19960"/>
            </a:xfrm>
            <a:prstGeom prst="rect">
              <a:avLst/>
            </a:prstGeom>
            <a:solidFill>
              <a:srgbClr val="7C252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6" name="Rectangle 85"/>
            <p:cNvSpPr/>
            <p:nvPr/>
          </p:nvSpPr>
          <p:spPr bwMode="gray">
            <a:xfrm>
              <a:off x="433039" y="5057743"/>
              <a:ext cx="18255" cy="255709"/>
            </a:xfrm>
            <a:prstGeom prst="rect">
              <a:avLst/>
            </a:prstGeom>
            <a:solidFill>
              <a:srgbClr val="7C252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7" name="Rectangle 86"/>
            <p:cNvSpPr/>
            <p:nvPr/>
          </p:nvSpPr>
          <p:spPr bwMode="gray">
            <a:xfrm>
              <a:off x="717884" y="5057743"/>
              <a:ext cx="18255" cy="255709"/>
            </a:xfrm>
            <a:prstGeom prst="rect">
              <a:avLst/>
            </a:prstGeom>
            <a:solidFill>
              <a:srgbClr val="7C252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8" name="Freeform 7"/>
            <p:cNvSpPr>
              <a:spLocks/>
            </p:cNvSpPr>
            <p:nvPr/>
          </p:nvSpPr>
          <p:spPr bwMode="gray">
            <a:xfrm flipH="1">
              <a:off x="550634" y="4841109"/>
              <a:ext cx="79618" cy="79617"/>
            </a:xfrm>
            <a:custGeom>
              <a:avLst/>
              <a:gdLst>
                <a:gd name="T0" fmla="*/ 58 w 116"/>
                <a:gd name="T1" fmla="*/ 116 h 116"/>
                <a:gd name="T2" fmla="*/ 58 w 116"/>
                <a:gd name="T3" fmla="*/ 116 h 116"/>
                <a:gd name="T4" fmla="*/ 70 w 116"/>
                <a:gd name="T5" fmla="*/ 114 h 116"/>
                <a:gd name="T6" fmla="*/ 82 w 116"/>
                <a:gd name="T7" fmla="*/ 112 h 116"/>
                <a:gd name="T8" fmla="*/ 90 w 116"/>
                <a:gd name="T9" fmla="*/ 106 h 116"/>
                <a:gd name="T10" fmla="*/ 100 w 116"/>
                <a:gd name="T11" fmla="*/ 100 h 116"/>
                <a:gd name="T12" fmla="*/ 106 w 116"/>
                <a:gd name="T13" fmla="*/ 90 h 116"/>
                <a:gd name="T14" fmla="*/ 112 w 116"/>
                <a:gd name="T15" fmla="*/ 80 h 116"/>
                <a:gd name="T16" fmla="*/ 116 w 116"/>
                <a:gd name="T17" fmla="*/ 70 h 116"/>
                <a:gd name="T18" fmla="*/ 116 w 116"/>
                <a:gd name="T19" fmla="*/ 58 h 116"/>
                <a:gd name="T20" fmla="*/ 116 w 116"/>
                <a:gd name="T21" fmla="*/ 58 h 116"/>
                <a:gd name="T22" fmla="*/ 116 w 116"/>
                <a:gd name="T23" fmla="*/ 46 h 116"/>
                <a:gd name="T24" fmla="*/ 112 w 116"/>
                <a:gd name="T25" fmla="*/ 36 h 116"/>
                <a:gd name="T26" fmla="*/ 106 w 116"/>
                <a:gd name="T27" fmla="*/ 26 h 116"/>
                <a:gd name="T28" fmla="*/ 100 w 116"/>
                <a:gd name="T29" fmla="*/ 16 h 116"/>
                <a:gd name="T30" fmla="*/ 90 w 116"/>
                <a:gd name="T31" fmla="*/ 10 h 116"/>
                <a:gd name="T32" fmla="*/ 82 w 116"/>
                <a:gd name="T33" fmla="*/ 4 h 116"/>
                <a:gd name="T34" fmla="*/ 70 w 116"/>
                <a:gd name="T35" fmla="*/ 0 h 116"/>
                <a:gd name="T36" fmla="*/ 58 w 116"/>
                <a:gd name="T37" fmla="*/ 0 h 116"/>
                <a:gd name="T38" fmla="*/ 58 w 116"/>
                <a:gd name="T39" fmla="*/ 0 h 116"/>
                <a:gd name="T40" fmla="*/ 46 w 116"/>
                <a:gd name="T41" fmla="*/ 0 h 116"/>
                <a:gd name="T42" fmla="*/ 36 w 116"/>
                <a:gd name="T43" fmla="*/ 4 h 116"/>
                <a:gd name="T44" fmla="*/ 26 w 116"/>
                <a:gd name="T45" fmla="*/ 10 h 116"/>
                <a:gd name="T46" fmla="*/ 18 w 116"/>
                <a:gd name="T47" fmla="*/ 16 h 116"/>
                <a:gd name="T48" fmla="*/ 10 w 116"/>
                <a:gd name="T49" fmla="*/ 26 h 116"/>
                <a:gd name="T50" fmla="*/ 4 w 116"/>
                <a:gd name="T51" fmla="*/ 36 h 116"/>
                <a:gd name="T52" fmla="*/ 2 w 116"/>
                <a:gd name="T53" fmla="*/ 46 h 116"/>
                <a:gd name="T54" fmla="*/ 0 w 116"/>
                <a:gd name="T55" fmla="*/ 58 h 116"/>
                <a:gd name="T56" fmla="*/ 0 w 116"/>
                <a:gd name="T57" fmla="*/ 58 h 116"/>
                <a:gd name="T58" fmla="*/ 2 w 116"/>
                <a:gd name="T59" fmla="*/ 70 h 116"/>
                <a:gd name="T60" fmla="*/ 4 w 116"/>
                <a:gd name="T61" fmla="*/ 80 h 116"/>
                <a:gd name="T62" fmla="*/ 10 w 116"/>
                <a:gd name="T63" fmla="*/ 90 h 116"/>
                <a:gd name="T64" fmla="*/ 18 w 116"/>
                <a:gd name="T65" fmla="*/ 100 h 116"/>
                <a:gd name="T66" fmla="*/ 26 w 116"/>
                <a:gd name="T67" fmla="*/ 106 h 116"/>
                <a:gd name="T68" fmla="*/ 36 w 116"/>
                <a:gd name="T69" fmla="*/ 112 h 116"/>
                <a:gd name="T70" fmla="*/ 46 w 116"/>
                <a:gd name="T71" fmla="*/ 114 h 116"/>
                <a:gd name="T72" fmla="*/ 58 w 116"/>
                <a:gd name="T73" fmla="*/ 116 h 116"/>
                <a:gd name="T74" fmla="*/ 58 w 116"/>
                <a:gd name="T75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6" h="116">
                  <a:moveTo>
                    <a:pt x="58" y="116"/>
                  </a:moveTo>
                  <a:lnTo>
                    <a:pt x="58" y="116"/>
                  </a:lnTo>
                  <a:lnTo>
                    <a:pt x="70" y="114"/>
                  </a:lnTo>
                  <a:lnTo>
                    <a:pt x="82" y="112"/>
                  </a:lnTo>
                  <a:lnTo>
                    <a:pt x="90" y="106"/>
                  </a:lnTo>
                  <a:lnTo>
                    <a:pt x="100" y="100"/>
                  </a:lnTo>
                  <a:lnTo>
                    <a:pt x="106" y="90"/>
                  </a:lnTo>
                  <a:lnTo>
                    <a:pt x="112" y="80"/>
                  </a:lnTo>
                  <a:lnTo>
                    <a:pt x="116" y="70"/>
                  </a:lnTo>
                  <a:lnTo>
                    <a:pt x="116" y="58"/>
                  </a:lnTo>
                  <a:lnTo>
                    <a:pt x="116" y="58"/>
                  </a:lnTo>
                  <a:lnTo>
                    <a:pt x="116" y="46"/>
                  </a:lnTo>
                  <a:lnTo>
                    <a:pt x="112" y="36"/>
                  </a:lnTo>
                  <a:lnTo>
                    <a:pt x="106" y="26"/>
                  </a:lnTo>
                  <a:lnTo>
                    <a:pt x="100" y="16"/>
                  </a:lnTo>
                  <a:lnTo>
                    <a:pt x="90" y="10"/>
                  </a:lnTo>
                  <a:lnTo>
                    <a:pt x="82" y="4"/>
                  </a:lnTo>
                  <a:lnTo>
                    <a:pt x="70" y="0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46" y="0"/>
                  </a:lnTo>
                  <a:lnTo>
                    <a:pt x="36" y="4"/>
                  </a:lnTo>
                  <a:lnTo>
                    <a:pt x="26" y="10"/>
                  </a:lnTo>
                  <a:lnTo>
                    <a:pt x="18" y="16"/>
                  </a:lnTo>
                  <a:lnTo>
                    <a:pt x="10" y="26"/>
                  </a:lnTo>
                  <a:lnTo>
                    <a:pt x="4" y="36"/>
                  </a:lnTo>
                  <a:lnTo>
                    <a:pt x="2" y="46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2" y="70"/>
                  </a:lnTo>
                  <a:lnTo>
                    <a:pt x="4" y="80"/>
                  </a:lnTo>
                  <a:lnTo>
                    <a:pt x="10" y="90"/>
                  </a:lnTo>
                  <a:lnTo>
                    <a:pt x="18" y="100"/>
                  </a:lnTo>
                  <a:lnTo>
                    <a:pt x="26" y="106"/>
                  </a:lnTo>
                  <a:lnTo>
                    <a:pt x="36" y="112"/>
                  </a:lnTo>
                  <a:lnTo>
                    <a:pt x="46" y="114"/>
                  </a:lnTo>
                  <a:lnTo>
                    <a:pt x="58" y="116"/>
                  </a:lnTo>
                  <a:lnTo>
                    <a:pt x="58" y="116"/>
                  </a:lnTo>
                  <a:close/>
                </a:path>
              </a:pathLst>
            </a:custGeom>
            <a:solidFill>
              <a:srgbClr val="7C25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89" name="Rectangle 88"/>
            <p:cNvSpPr/>
            <p:nvPr/>
          </p:nvSpPr>
          <p:spPr bwMode="gray">
            <a:xfrm>
              <a:off x="486080" y="5165940"/>
              <a:ext cx="208726" cy="11100"/>
            </a:xfrm>
            <a:prstGeom prst="rect">
              <a:avLst/>
            </a:prstGeom>
            <a:solidFill>
              <a:srgbClr val="7C252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0" name="Rounded Rectangle 89"/>
            <p:cNvSpPr/>
            <p:nvPr/>
          </p:nvSpPr>
          <p:spPr bwMode="gray">
            <a:xfrm>
              <a:off x="506837" y="5086239"/>
              <a:ext cx="46447" cy="227213"/>
            </a:xfrm>
            <a:prstGeom prst="roundRect">
              <a:avLst>
                <a:gd name="adj" fmla="val 46845"/>
              </a:avLst>
            </a:prstGeom>
            <a:solidFill>
              <a:srgbClr val="7C252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1" name="Rounded Rectangle 90"/>
            <p:cNvSpPr/>
            <p:nvPr/>
          </p:nvSpPr>
          <p:spPr bwMode="gray">
            <a:xfrm>
              <a:off x="630252" y="5086239"/>
              <a:ext cx="46447" cy="227213"/>
            </a:xfrm>
            <a:prstGeom prst="roundRect">
              <a:avLst>
                <a:gd name="adj" fmla="val 46845"/>
              </a:avLst>
            </a:prstGeom>
            <a:solidFill>
              <a:srgbClr val="7C252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2" name="Rounded Rectangle 91"/>
            <p:cNvSpPr/>
            <p:nvPr/>
          </p:nvSpPr>
          <p:spPr bwMode="gray">
            <a:xfrm>
              <a:off x="630252" y="5013909"/>
              <a:ext cx="40191" cy="23393"/>
            </a:xfrm>
            <a:prstGeom prst="roundRect">
              <a:avLst/>
            </a:prstGeom>
            <a:solidFill>
              <a:srgbClr val="7C252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3" name="Isosceles Triangle 92"/>
            <p:cNvSpPr/>
            <p:nvPr/>
          </p:nvSpPr>
          <p:spPr bwMode="gray">
            <a:xfrm>
              <a:off x="473874" y="4996564"/>
              <a:ext cx="105287" cy="23600"/>
            </a:xfrm>
            <a:prstGeom prst="triangle">
              <a:avLst/>
            </a:prstGeom>
            <a:solidFill>
              <a:srgbClr val="7C2529"/>
            </a:solidFill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prstClr val="black"/>
                </a:solidFill>
              </a:endParaRPr>
            </a:p>
          </p:txBody>
        </p:sp>
        <p:sp>
          <p:nvSpPr>
            <p:cNvPr id="94" name="Trapezoid 93"/>
            <p:cNvSpPr/>
            <p:nvPr/>
          </p:nvSpPr>
          <p:spPr bwMode="gray">
            <a:xfrm flipV="1">
              <a:off x="445134" y="5019985"/>
              <a:ext cx="162769" cy="17317"/>
            </a:xfrm>
            <a:prstGeom prst="trapezoid">
              <a:avLst>
                <a:gd name="adj" fmla="val 47029"/>
              </a:avLst>
            </a:prstGeom>
            <a:solidFill>
              <a:srgbClr val="7C2529"/>
            </a:solidFill>
            <a:ln w="3175">
              <a:solidFill>
                <a:sysClr val="window" lastClr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kern="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95" name="Group 94"/>
          <p:cNvGrpSpPr>
            <a:grpSpLocks/>
          </p:cNvGrpSpPr>
          <p:nvPr/>
        </p:nvGrpSpPr>
        <p:grpSpPr bwMode="gray">
          <a:xfrm>
            <a:off x="143469" y="3790909"/>
            <a:ext cx="468213" cy="676366"/>
            <a:chOff x="143469" y="3890456"/>
            <a:chExt cx="647328" cy="896701"/>
          </a:xfrm>
        </p:grpSpPr>
        <p:sp>
          <p:nvSpPr>
            <p:cNvPr id="96" name="Oval 95"/>
            <p:cNvSpPr>
              <a:spLocks/>
            </p:cNvSpPr>
            <p:nvPr/>
          </p:nvSpPr>
          <p:spPr bwMode="gray">
            <a:xfrm>
              <a:off x="143469" y="3890456"/>
              <a:ext cx="647328" cy="896701"/>
            </a:xfrm>
            <a:prstGeom prst="ellipse">
              <a:avLst/>
            </a:prstGeom>
            <a:solidFill>
              <a:srgbClr val="1B365D"/>
            </a:solidFill>
            <a:ln w="19050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731" tIns="46648" rIns="36731" bIns="46648" anchor="ctr">
              <a:noAutofit/>
            </a:bodyPr>
            <a:lstStyle/>
            <a:p>
              <a:pPr>
                <a:defRPr/>
              </a:pPr>
              <a:endParaRPr lang="en-US" sz="1200" kern="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grpSp>
          <p:nvGrpSpPr>
            <p:cNvPr id="97" name="Group 96"/>
            <p:cNvGrpSpPr/>
            <p:nvPr/>
          </p:nvGrpSpPr>
          <p:grpSpPr bwMode="gray">
            <a:xfrm>
              <a:off x="261552" y="4051072"/>
              <a:ext cx="411162" cy="575468"/>
              <a:chOff x="3136900" y="244475"/>
              <a:chExt cx="822325" cy="1150938"/>
            </a:xfrm>
            <a:solidFill>
              <a:sysClr val="window" lastClr="FFFFFF"/>
            </a:solidFill>
          </p:grpSpPr>
          <p:sp>
            <p:nvSpPr>
              <p:cNvPr id="98" name="Freeform 67"/>
              <p:cNvSpPr>
                <a:spLocks/>
              </p:cNvSpPr>
              <p:nvPr/>
            </p:nvSpPr>
            <p:spPr bwMode="gray">
              <a:xfrm>
                <a:off x="3387725" y="244475"/>
                <a:ext cx="315913" cy="315913"/>
              </a:xfrm>
              <a:custGeom>
                <a:avLst/>
                <a:gdLst>
                  <a:gd name="T0" fmla="*/ 99 w 199"/>
                  <a:gd name="T1" fmla="*/ 0 h 199"/>
                  <a:gd name="T2" fmla="*/ 99 w 199"/>
                  <a:gd name="T3" fmla="*/ 0 h 199"/>
                  <a:gd name="T4" fmla="*/ 121 w 199"/>
                  <a:gd name="T5" fmla="*/ 2 h 199"/>
                  <a:gd name="T6" fmla="*/ 139 w 199"/>
                  <a:gd name="T7" fmla="*/ 7 h 199"/>
                  <a:gd name="T8" fmla="*/ 155 w 199"/>
                  <a:gd name="T9" fmla="*/ 16 h 199"/>
                  <a:gd name="T10" fmla="*/ 170 w 199"/>
                  <a:gd name="T11" fmla="*/ 29 h 199"/>
                  <a:gd name="T12" fmla="*/ 183 w 199"/>
                  <a:gd name="T13" fmla="*/ 44 h 199"/>
                  <a:gd name="T14" fmla="*/ 192 w 199"/>
                  <a:gd name="T15" fmla="*/ 62 h 199"/>
                  <a:gd name="T16" fmla="*/ 197 w 199"/>
                  <a:gd name="T17" fmla="*/ 80 h 199"/>
                  <a:gd name="T18" fmla="*/ 199 w 199"/>
                  <a:gd name="T19" fmla="*/ 100 h 199"/>
                  <a:gd name="T20" fmla="*/ 199 w 199"/>
                  <a:gd name="T21" fmla="*/ 100 h 199"/>
                  <a:gd name="T22" fmla="*/ 197 w 199"/>
                  <a:gd name="T23" fmla="*/ 120 h 199"/>
                  <a:gd name="T24" fmla="*/ 192 w 199"/>
                  <a:gd name="T25" fmla="*/ 138 h 199"/>
                  <a:gd name="T26" fmla="*/ 183 w 199"/>
                  <a:gd name="T27" fmla="*/ 156 h 199"/>
                  <a:gd name="T28" fmla="*/ 170 w 199"/>
                  <a:gd name="T29" fmla="*/ 170 h 199"/>
                  <a:gd name="T30" fmla="*/ 155 w 199"/>
                  <a:gd name="T31" fmla="*/ 183 h 199"/>
                  <a:gd name="T32" fmla="*/ 139 w 199"/>
                  <a:gd name="T33" fmla="*/ 192 h 199"/>
                  <a:gd name="T34" fmla="*/ 121 w 199"/>
                  <a:gd name="T35" fmla="*/ 198 h 199"/>
                  <a:gd name="T36" fmla="*/ 99 w 199"/>
                  <a:gd name="T37" fmla="*/ 199 h 199"/>
                  <a:gd name="T38" fmla="*/ 99 w 199"/>
                  <a:gd name="T39" fmla="*/ 199 h 199"/>
                  <a:gd name="T40" fmla="*/ 79 w 199"/>
                  <a:gd name="T41" fmla="*/ 198 h 199"/>
                  <a:gd name="T42" fmla="*/ 61 w 199"/>
                  <a:gd name="T43" fmla="*/ 192 h 199"/>
                  <a:gd name="T44" fmla="*/ 45 w 199"/>
                  <a:gd name="T45" fmla="*/ 183 h 199"/>
                  <a:gd name="T46" fmla="*/ 30 w 199"/>
                  <a:gd name="T47" fmla="*/ 170 h 199"/>
                  <a:gd name="T48" fmla="*/ 18 w 199"/>
                  <a:gd name="T49" fmla="*/ 156 h 199"/>
                  <a:gd name="T50" fmla="*/ 9 w 199"/>
                  <a:gd name="T51" fmla="*/ 138 h 199"/>
                  <a:gd name="T52" fmla="*/ 3 w 199"/>
                  <a:gd name="T53" fmla="*/ 120 h 199"/>
                  <a:gd name="T54" fmla="*/ 0 w 199"/>
                  <a:gd name="T55" fmla="*/ 100 h 199"/>
                  <a:gd name="T56" fmla="*/ 0 w 199"/>
                  <a:gd name="T57" fmla="*/ 100 h 199"/>
                  <a:gd name="T58" fmla="*/ 3 w 199"/>
                  <a:gd name="T59" fmla="*/ 80 h 199"/>
                  <a:gd name="T60" fmla="*/ 9 w 199"/>
                  <a:gd name="T61" fmla="*/ 62 h 199"/>
                  <a:gd name="T62" fmla="*/ 18 w 199"/>
                  <a:gd name="T63" fmla="*/ 44 h 199"/>
                  <a:gd name="T64" fmla="*/ 30 w 199"/>
                  <a:gd name="T65" fmla="*/ 29 h 199"/>
                  <a:gd name="T66" fmla="*/ 45 w 199"/>
                  <a:gd name="T67" fmla="*/ 16 h 199"/>
                  <a:gd name="T68" fmla="*/ 61 w 199"/>
                  <a:gd name="T69" fmla="*/ 7 h 199"/>
                  <a:gd name="T70" fmla="*/ 79 w 199"/>
                  <a:gd name="T71" fmla="*/ 2 h 199"/>
                  <a:gd name="T72" fmla="*/ 99 w 199"/>
                  <a:gd name="T73" fmla="*/ 0 h 199"/>
                  <a:gd name="T74" fmla="*/ 99 w 199"/>
                  <a:gd name="T75" fmla="*/ 0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99" h="199">
                    <a:moveTo>
                      <a:pt x="99" y="0"/>
                    </a:moveTo>
                    <a:lnTo>
                      <a:pt x="99" y="0"/>
                    </a:lnTo>
                    <a:lnTo>
                      <a:pt x="121" y="2"/>
                    </a:lnTo>
                    <a:lnTo>
                      <a:pt x="139" y="7"/>
                    </a:lnTo>
                    <a:lnTo>
                      <a:pt x="155" y="16"/>
                    </a:lnTo>
                    <a:lnTo>
                      <a:pt x="170" y="29"/>
                    </a:lnTo>
                    <a:lnTo>
                      <a:pt x="183" y="44"/>
                    </a:lnTo>
                    <a:lnTo>
                      <a:pt x="192" y="62"/>
                    </a:lnTo>
                    <a:lnTo>
                      <a:pt x="197" y="80"/>
                    </a:lnTo>
                    <a:lnTo>
                      <a:pt x="199" y="100"/>
                    </a:lnTo>
                    <a:lnTo>
                      <a:pt x="199" y="100"/>
                    </a:lnTo>
                    <a:lnTo>
                      <a:pt x="197" y="120"/>
                    </a:lnTo>
                    <a:lnTo>
                      <a:pt x="192" y="138"/>
                    </a:lnTo>
                    <a:lnTo>
                      <a:pt x="183" y="156"/>
                    </a:lnTo>
                    <a:lnTo>
                      <a:pt x="170" y="170"/>
                    </a:lnTo>
                    <a:lnTo>
                      <a:pt x="155" y="183"/>
                    </a:lnTo>
                    <a:lnTo>
                      <a:pt x="139" y="192"/>
                    </a:lnTo>
                    <a:lnTo>
                      <a:pt x="121" y="198"/>
                    </a:lnTo>
                    <a:lnTo>
                      <a:pt x="99" y="199"/>
                    </a:lnTo>
                    <a:lnTo>
                      <a:pt x="99" y="199"/>
                    </a:lnTo>
                    <a:lnTo>
                      <a:pt x="79" y="198"/>
                    </a:lnTo>
                    <a:lnTo>
                      <a:pt x="61" y="192"/>
                    </a:lnTo>
                    <a:lnTo>
                      <a:pt x="45" y="183"/>
                    </a:lnTo>
                    <a:lnTo>
                      <a:pt x="30" y="170"/>
                    </a:lnTo>
                    <a:lnTo>
                      <a:pt x="18" y="156"/>
                    </a:lnTo>
                    <a:lnTo>
                      <a:pt x="9" y="138"/>
                    </a:lnTo>
                    <a:lnTo>
                      <a:pt x="3" y="120"/>
                    </a:lnTo>
                    <a:lnTo>
                      <a:pt x="0" y="100"/>
                    </a:lnTo>
                    <a:lnTo>
                      <a:pt x="0" y="100"/>
                    </a:lnTo>
                    <a:lnTo>
                      <a:pt x="3" y="80"/>
                    </a:lnTo>
                    <a:lnTo>
                      <a:pt x="9" y="62"/>
                    </a:lnTo>
                    <a:lnTo>
                      <a:pt x="18" y="44"/>
                    </a:lnTo>
                    <a:lnTo>
                      <a:pt x="30" y="29"/>
                    </a:lnTo>
                    <a:lnTo>
                      <a:pt x="45" y="16"/>
                    </a:lnTo>
                    <a:lnTo>
                      <a:pt x="61" y="7"/>
                    </a:lnTo>
                    <a:lnTo>
                      <a:pt x="79" y="2"/>
                    </a:lnTo>
                    <a:lnTo>
                      <a:pt x="99" y="0"/>
                    </a:lnTo>
                    <a:lnTo>
                      <a:pt x="9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defRPr/>
                </a:pPr>
                <a:endParaRPr lang="en-US" kern="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99" name="Freeform 68"/>
              <p:cNvSpPr>
                <a:spLocks/>
              </p:cNvSpPr>
              <p:nvPr/>
            </p:nvSpPr>
            <p:spPr bwMode="gray">
              <a:xfrm>
                <a:off x="3136900" y="609600"/>
                <a:ext cx="822325" cy="785813"/>
              </a:xfrm>
              <a:custGeom>
                <a:avLst/>
                <a:gdLst>
                  <a:gd name="T0" fmla="*/ 293 w 518"/>
                  <a:gd name="T1" fmla="*/ 76 h 495"/>
                  <a:gd name="T2" fmla="*/ 308 w 518"/>
                  <a:gd name="T3" fmla="*/ 58 h 495"/>
                  <a:gd name="T4" fmla="*/ 342 w 518"/>
                  <a:gd name="T5" fmla="*/ 78 h 495"/>
                  <a:gd name="T6" fmla="*/ 375 w 518"/>
                  <a:gd name="T7" fmla="*/ 191 h 495"/>
                  <a:gd name="T8" fmla="*/ 348 w 518"/>
                  <a:gd name="T9" fmla="*/ 205 h 495"/>
                  <a:gd name="T10" fmla="*/ 295 w 518"/>
                  <a:gd name="T11" fmla="*/ 191 h 495"/>
                  <a:gd name="T12" fmla="*/ 293 w 518"/>
                  <a:gd name="T13" fmla="*/ 122 h 495"/>
                  <a:gd name="T14" fmla="*/ 301 w 518"/>
                  <a:gd name="T15" fmla="*/ 221 h 495"/>
                  <a:gd name="T16" fmla="*/ 337 w 518"/>
                  <a:gd name="T17" fmla="*/ 239 h 495"/>
                  <a:gd name="T18" fmla="*/ 306 w 518"/>
                  <a:gd name="T19" fmla="*/ 299 h 495"/>
                  <a:gd name="T20" fmla="*/ 254 w 518"/>
                  <a:gd name="T21" fmla="*/ 307 h 495"/>
                  <a:gd name="T22" fmla="*/ 201 w 518"/>
                  <a:gd name="T23" fmla="*/ 287 h 495"/>
                  <a:gd name="T24" fmla="*/ 187 w 518"/>
                  <a:gd name="T25" fmla="*/ 310 h 495"/>
                  <a:gd name="T26" fmla="*/ 328 w 518"/>
                  <a:gd name="T27" fmla="*/ 319 h 495"/>
                  <a:gd name="T28" fmla="*/ 353 w 518"/>
                  <a:gd name="T29" fmla="*/ 346 h 495"/>
                  <a:gd name="T30" fmla="*/ 344 w 518"/>
                  <a:gd name="T31" fmla="*/ 377 h 495"/>
                  <a:gd name="T32" fmla="*/ 197 w 518"/>
                  <a:gd name="T33" fmla="*/ 388 h 495"/>
                  <a:gd name="T34" fmla="*/ 190 w 518"/>
                  <a:gd name="T35" fmla="*/ 399 h 495"/>
                  <a:gd name="T36" fmla="*/ 328 w 518"/>
                  <a:gd name="T37" fmla="*/ 404 h 495"/>
                  <a:gd name="T38" fmla="*/ 353 w 518"/>
                  <a:gd name="T39" fmla="*/ 430 h 495"/>
                  <a:gd name="T40" fmla="*/ 344 w 518"/>
                  <a:gd name="T41" fmla="*/ 461 h 495"/>
                  <a:gd name="T42" fmla="*/ 176 w 518"/>
                  <a:gd name="T43" fmla="*/ 471 h 495"/>
                  <a:gd name="T44" fmla="*/ 165 w 518"/>
                  <a:gd name="T45" fmla="*/ 453 h 495"/>
                  <a:gd name="T46" fmla="*/ 322 w 518"/>
                  <a:gd name="T47" fmla="*/ 444 h 495"/>
                  <a:gd name="T48" fmla="*/ 326 w 518"/>
                  <a:gd name="T49" fmla="*/ 432 h 495"/>
                  <a:gd name="T50" fmla="*/ 185 w 518"/>
                  <a:gd name="T51" fmla="*/ 426 h 495"/>
                  <a:gd name="T52" fmla="*/ 163 w 518"/>
                  <a:gd name="T53" fmla="*/ 395 h 495"/>
                  <a:gd name="T54" fmla="*/ 177 w 518"/>
                  <a:gd name="T55" fmla="*/ 366 h 495"/>
                  <a:gd name="T56" fmla="*/ 322 w 518"/>
                  <a:gd name="T57" fmla="*/ 361 h 495"/>
                  <a:gd name="T58" fmla="*/ 326 w 518"/>
                  <a:gd name="T59" fmla="*/ 348 h 495"/>
                  <a:gd name="T60" fmla="*/ 185 w 518"/>
                  <a:gd name="T61" fmla="*/ 343 h 495"/>
                  <a:gd name="T62" fmla="*/ 159 w 518"/>
                  <a:gd name="T63" fmla="*/ 303 h 495"/>
                  <a:gd name="T64" fmla="*/ 177 w 518"/>
                  <a:gd name="T65" fmla="*/ 267 h 495"/>
                  <a:gd name="T66" fmla="*/ 228 w 518"/>
                  <a:gd name="T67" fmla="*/ 259 h 495"/>
                  <a:gd name="T68" fmla="*/ 246 w 518"/>
                  <a:gd name="T69" fmla="*/ 118 h 495"/>
                  <a:gd name="T70" fmla="*/ 225 w 518"/>
                  <a:gd name="T71" fmla="*/ 178 h 495"/>
                  <a:gd name="T72" fmla="*/ 194 w 518"/>
                  <a:gd name="T73" fmla="*/ 198 h 495"/>
                  <a:gd name="T74" fmla="*/ 147 w 518"/>
                  <a:gd name="T75" fmla="*/ 205 h 495"/>
                  <a:gd name="T76" fmla="*/ 154 w 518"/>
                  <a:gd name="T77" fmla="*/ 122 h 495"/>
                  <a:gd name="T78" fmla="*/ 196 w 518"/>
                  <a:gd name="T79" fmla="*/ 60 h 495"/>
                  <a:gd name="T80" fmla="*/ 223 w 518"/>
                  <a:gd name="T81" fmla="*/ 71 h 495"/>
                  <a:gd name="T82" fmla="*/ 134 w 518"/>
                  <a:gd name="T83" fmla="*/ 0 h 495"/>
                  <a:gd name="T84" fmla="*/ 72 w 518"/>
                  <a:gd name="T85" fmla="*/ 15 h 495"/>
                  <a:gd name="T86" fmla="*/ 16 w 518"/>
                  <a:gd name="T87" fmla="*/ 67 h 495"/>
                  <a:gd name="T88" fmla="*/ 0 w 518"/>
                  <a:gd name="T89" fmla="*/ 127 h 495"/>
                  <a:gd name="T90" fmla="*/ 13 w 518"/>
                  <a:gd name="T91" fmla="*/ 468 h 495"/>
                  <a:gd name="T92" fmla="*/ 53 w 518"/>
                  <a:gd name="T93" fmla="*/ 479 h 495"/>
                  <a:gd name="T94" fmla="*/ 87 w 518"/>
                  <a:gd name="T95" fmla="*/ 444 h 495"/>
                  <a:gd name="T96" fmla="*/ 395 w 518"/>
                  <a:gd name="T97" fmla="*/ 495 h 495"/>
                  <a:gd name="T98" fmla="*/ 431 w 518"/>
                  <a:gd name="T99" fmla="*/ 444 h 495"/>
                  <a:gd name="T100" fmla="*/ 465 w 518"/>
                  <a:gd name="T101" fmla="*/ 479 h 495"/>
                  <a:gd name="T102" fmla="*/ 505 w 518"/>
                  <a:gd name="T103" fmla="*/ 468 h 495"/>
                  <a:gd name="T104" fmla="*/ 518 w 518"/>
                  <a:gd name="T105" fmla="*/ 127 h 495"/>
                  <a:gd name="T106" fmla="*/ 502 w 518"/>
                  <a:gd name="T107" fmla="*/ 67 h 495"/>
                  <a:gd name="T108" fmla="*/ 451 w 518"/>
                  <a:gd name="T109" fmla="*/ 15 h 495"/>
                  <a:gd name="T110" fmla="*/ 389 w 518"/>
                  <a:gd name="T111" fmla="*/ 0 h 4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18" h="495">
                    <a:moveTo>
                      <a:pt x="389" y="0"/>
                    </a:moveTo>
                    <a:lnTo>
                      <a:pt x="389" y="0"/>
                    </a:lnTo>
                    <a:lnTo>
                      <a:pt x="272" y="0"/>
                    </a:lnTo>
                    <a:lnTo>
                      <a:pt x="272" y="93"/>
                    </a:lnTo>
                    <a:lnTo>
                      <a:pt x="293" y="98"/>
                    </a:lnTo>
                    <a:lnTo>
                      <a:pt x="293" y="76"/>
                    </a:lnTo>
                    <a:lnTo>
                      <a:pt x="293" y="76"/>
                    </a:lnTo>
                    <a:lnTo>
                      <a:pt x="295" y="71"/>
                    </a:lnTo>
                    <a:lnTo>
                      <a:pt x="295" y="67"/>
                    </a:lnTo>
                    <a:lnTo>
                      <a:pt x="299" y="62"/>
                    </a:lnTo>
                    <a:lnTo>
                      <a:pt x="302" y="60"/>
                    </a:lnTo>
                    <a:lnTo>
                      <a:pt x="308" y="58"/>
                    </a:lnTo>
                    <a:lnTo>
                      <a:pt x="315" y="58"/>
                    </a:lnTo>
                    <a:lnTo>
                      <a:pt x="322" y="60"/>
                    </a:lnTo>
                    <a:lnTo>
                      <a:pt x="330" y="65"/>
                    </a:lnTo>
                    <a:lnTo>
                      <a:pt x="330" y="65"/>
                    </a:lnTo>
                    <a:lnTo>
                      <a:pt x="335" y="71"/>
                    </a:lnTo>
                    <a:lnTo>
                      <a:pt x="342" y="78"/>
                    </a:lnTo>
                    <a:lnTo>
                      <a:pt x="353" y="98"/>
                    </a:lnTo>
                    <a:lnTo>
                      <a:pt x="364" y="122"/>
                    </a:lnTo>
                    <a:lnTo>
                      <a:pt x="371" y="147"/>
                    </a:lnTo>
                    <a:lnTo>
                      <a:pt x="375" y="171"/>
                    </a:lnTo>
                    <a:lnTo>
                      <a:pt x="377" y="181"/>
                    </a:lnTo>
                    <a:lnTo>
                      <a:pt x="375" y="191"/>
                    </a:lnTo>
                    <a:lnTo>
                      <a:pt x="373" y="200"/>
                    </a:lnTo>
                    <a:lnTo>
                      <a:pt x="371" y="205"/>
                    </a:lnTo>
                    <a:lnTo>
                      <a:pt x="366" y="207"/>
                    </a:lnTo>
                    <a:lnTo>
                      <a:pt x="360" y="209"/>
                    </a:lnTo>
                    <a:lnTo>
                      <a:pt x="360" y="209"/>
                    </a:lnTo>
                    <a:lnTo>
                      <a:pt x="348" y="205"/>
                    </a:lnTo>
                    <a:lnTo>
                      <a:pt x="335" y="201"/>
                    </a:lnTo>
                    <a:lnTo>
                      <a:pt x="324" y="198"/>
                    </a:lnTo>
                    <a:lnTo>
                      <a:pt x="310" y="196"/>
                    </a:lnTo>
                    <a:lnTo>
                      <a:pt x="310" y="196"/>
                    </a:lnTo>
                    <a:lnTo>
                      <a:pt x="301" y="194"/>
                    </a:lnTo>
                    <a:lnTo>
                      <a:pt x="295" y="191"/>
                    </a:lnTo>
                    <a:lnTo>
                      <a:pt x="293" y="185"/>
                    </a:lnTo>
                    <a:lnTo>
                      <a:pt x="293" y="178"/>
                    </a:lnTo>
                    <a:lnTo>
                      <a:pt x="293" y="178"/>
                    </a:lnTo>
                    <a:lnTo>
                      <a:pt x="293" y="140"/>
                    </a:lnTo>
                    <a:lnTo>
                      <a:pt x="293" y="122"/>
                    </a:lnTo>
                    <a:lnTo>
                      <a:pt x="293" y="122"/>
                    </a:lnTo>
                    <a:lnTo>
                      <a:pt x="272" y="116"/>
                    </a:lnTo>
                    <a:lnTo>
                      <a:pt x="272" y="232"/>
                    </a:lnTo>
                    <a:lnTo>
                      <a:pt x="272" y="232"/>
                    </a:lnTo>
                    <a:lnTo>
                      <a:pt x="277" y="229"/>
                    </a:lnTo>
                    <a:lnTo>
                      <a:pt x="292" y="223"/>
                    </a:lnTo>
                    <a:lnTo>
                      <a:pt x="301" y="221"/>
                    </a:lnTo>
                    <a:lnTo>
                      <a:pt x="310" y="221"/>
                    </a:lnTo>
                    <a:lnTo>
                      <a:pt x="319" y="223"/>
                    </a:lnTo>
                    <a:lnTo>
                      <a:pt x="328" y="229"/>
                    </a:lnTo>
                    <a:lnTo>
                      <a:pt x="328" y="229"/>
                    </a:lnTo>
                    <a:lnTo>
                      <a:pt x="333" y="234"/>
                    </a:lnTo>
                    <a:lnTo>
                      <a:pt x="337" y="239"/>
                    </a:lnTo>
                    <a:lnTo>
                      <a:pt x="339" y="249"/>
                    </a:lnTo>
                    <a:lnTo>
                      <a:pt x="339" y="258"/>
                    </a:lnTo>
                    <a:lnTo>
                      <a:pt x="337" y="267"/>
                    </a:lnTo>
                    <a:lnTo>
                      <a:pt x="331" y="278"/>
                    </a:lnTo>
                    <a:lnTo>
                      <a:pt x="321" y="288"/>
                    </a:lnTo>
                    <a:lnTo>
                      <a:pt x="306" y="299"/>
                    </a:lnTo>
                    <a:lnTo>
                      <a:pt x="306" y="299"/>
                    </a:lnTo>
                    <a:lnTo>
                      <a:pt x="301" y="301"/>
                    </a:lnTo>
                    <a:lnTo>
                      <a:pt x="292" y="305"/>
                    </a:lnTo>
                    <a:lnTo>
                      <a:pt x="279" y="307"/>
                    </a:lnTo>
                    <a:lnTo>
                      <a:pt x="266" y="307"/>
                    </a:lnTo>
                    <a:lnTo>
                      <a:pt x="254" y="307"/>
                    </a:lnTo>
                    <a:lnTo>
                      <a:pt x="241" y="303"/>
                    </a:lnTo>
                    <a:lnTo>
                      <a:pt x="230" y="297"/>
                    </a:lnTo>
                    <a:lnTo>
                      <a:pt x="225" y="292"/>
                    </a:lnTo>
                    <a:lnTo>
                      <a:pt x="221" y="287"/>
                    </a:lnTo>
                    <a:lnTo>
                      <a:pt x="201" y="287"/>
                    </a:lnTo>
                    <a:lnTo>
                      <a:pt x="201" y="287"/>
                    </a:lnTo>
                    <a:lnTo>
                      <a:pt x="196" y="288"/>
                    </a:lnTo>
                    <a:lnTo>
                      <a:pt x="190" y="292"/>
                    </a:lnTo>
                    <a:lnTo>
                      <a:pt x="187" y="297"/>
                    </a:lnTo>
                    <a:lnTo>
                      <a:pt x="185" y="303"/>
                    </a:lnTo>
                    <a:lnTo>
                      <a:pt x="185" y="303"/>
                    </a:lnTo>
                    <a:lnTo>
                      <a:pt x="187" y="310"/>
                    </a:lnTo>
                    <a:lnTo>
                      <a:pt x="190" y="314"/>
                    </a:lnTo>
                    <a:lnTo>
                      <a:pt x="196" y="317"/>
                    </a:lnTo>
                    <a:lnTo>
                      <a:pt x="201" y="319"/>
                    </a:lnTo>
                    <a:lnTo>
                      <a:pt x="321" y="319"/>
                    </a:lnTo>
                    <a:lnTo>
                      <a:pt x="321" y="319"/>
                    </a:lnTo>
                    <a:lnTo>
                      <a:pt x="328" y="319"/>
                    </a:lnTo>
                    <a:lnTo>
                      <a:pt x="333" y="323"/>
                    </a:lnTo>
                    <a:lnTo>
                      <a:pt x="339" y="325"/>
                    </a:lnTo>
                    <a:lnTo>
                      <a:pt x="344" y="330"/>
                    </a:lnTo>
                    <a:lnTo>
                      <a:pt x="348" y="334"/>
                    </a:lnTo>
                    <a:lnTo>
                      <a:pt x="351" y="341"/>
                    </a:lnTo>
                    <a:lnTo>
                      <a:pt x="353" y="346"/>
                    </a:lnTo>
                    <a:lnTo>
                      <a:pt x="355" y="354"/>
                    </a:lnTo>
                    <a:lnTo>
                      <a:pt x="355" y="354"/>
                    </a:lnTo>
                    <a:lnTo>
                      <a:pt x="353" y="361"/>
                    </a:lnTo>
                    <a:lnTo>
                      <a:pt x="351" y="366"/>
                    </a:lnTo>
                    <a:lnTo>
                      <a:pt x="348" y="372"/>
                    </a:lnTo>
                    <a:lnTo>
                      <a:pt x="344" y="377"/>
                    </a:lnTo>
                    <a:lnTo>
                      <a:pt x="339" y="381"/>
                    </a:lnTo>
                    <a:lnTo>
                      <a:pt x="333" y="384"/>
                    </a:lnTo>
                    <a:lnTo>
                      <a:pt x="328" y="386"/>
                    </a:lnTo>
                    <a:lnTo>
                      <a:pt x="321" y="388"/>
                    </a:lnTo>
                    <a:lnTo>
                      <a:pt x="197" y="388"/>
                    </a:lnTo>
                    <a:lnTo>
                      <a:pt x="197" y="388"/>
                    </a:lnTo>
                    <a:lnTo>
                      <a:pt x="194" y="388"/>
                    </a:lnTo>
                    <a:lnTo>
                      <a:pt x="192" y="390"/>
                    </a:lnTo>
                    <a:lnTo>
                      <a:pt x="190" y="392"/>
                    </a:lnTo>
                    <a:lnTo>
                      <a:pt x="190" y="395"/>
                    </a:lnTo>
                    <a:lnTo>
                      <a:pt x="190" y="395"/>
                    </a:lnTo>
                    <a:lnTo>
                      <a:pt x="190" y="399"/>
                    </a:lnTo>
                    <a:lnTo>
                      <a:pt x="192" y="401"/>
                    </a:lnTo>
                    <a:lnTo>
                      <a:pt x="194" y="403"/>
                    </a:lnTo>
                    <a:lnTo>
                      <a:pt x="197" y="403"/>
                    </a:lnTo>
                    <a:lnTo>
                      <a:pt x="321" y="403"/>
                    </a:lnTo>
                    <a:lnTo>
                      <a:pt x="321" y="403"/>
                    </a:lnTo>
                    <a:lnTo>
                      <a:pt x="328" y="404"/>
                    </a:lnTo>
                    <a:lnTo>
                      <a:pt x="333" y="406"/>
                    </a:lnTo>
                    <a:lnTo>
                      <a:pt x="339" y="408"/>
                    </a:lnTo>
                    <a:lnTo>
                      <a:pt x="344" y="413"/>
                    </a:lnTo>
                    <a:lnTo>
                      <a:pt x="348" y="417"/>
                    </a:lnTo>
                    <a:lnTo>
                      <a:pt x="351" y="424"/>
                    </a:lnTo>
                    <a:lnTo>
                      <a:pt x="353" y="430"/>
                    </a:lnTo>
                    <a:lnTo>
                      <a:pt x="355" y="437"/>
                    </a:lnTo>
                    <a:lnTo>
                      <a:pt x="355" y="437"/>
                    </a:lnTo>
                    <a:lnTo>
                      <a:pt x="353" y="444"/>
                    </a:lnTo>
                    <a:lnTo>
                      <a:pt x="351" y="450"/>
                    </a:lnTo>
                    <a:lnTo>
                      <a:pt x="348" y="455"/>
                    </a:lnTo>
                    <a:lnTo>
                      <a:pt x="344" y="461"/>
                    </a:lnTo>
                    <a:lnTo>
                      <a:pt x="339" y="466"/>
                    </a:lnTo>
                    <a:lnTo>
                      <a:pt x="333" y="468"/>
                    </a:lnTo>
                    <a:lnTo>
                      <a:pt x="328" y="470"/>
                    </a:lnTo>
                    <a:lnTo>
                      <a:pt x="321" y="471"/>
                    </a:lnTo>
                    <a:lnTo>
                      <a:pt x="176" y="471"/>
                    </a:lnTo>
                    <a:lnTo>
                      <a:pt x="176" y="471"/>
                    </a:lnTo>
                    <a:lnTo>
                      <a:pt x="172" y="470"/>
                    </a:lnTo>
                    <a:lnTo>
                      <a:pt x="167" y="468"/>
                    </a:lnTo>
                    <a:lnTo>
                      <a:pt x="165" y="462"/>
                    </a:lnTo>
                    <a:lnTo>
                      <a:pt x="163" y="457"/>
                    </a:lnTo>
                    <a:lnTo>
                      <a:pt x="163" y="457"/>
                    </a:lnTo>
                    <a:lnTo>
                      <a:pt x="165" y="453"/>
                    </a:lnTo>
                    <a:lnTo>
                      <a:pt x="167" y="448"/>
                    </a:lnTo>
                    <a:lnTo>
                      <a:pt x="172" y="446"/>
                    </a:lnTo>
                    <a:lnTo>
                      <a:pt x="176" y="444"/>
                    </a:lnTo>
                    <a:lnTo>
                      <a:pt x="321" y="444"/>
                    </a:lnTo>
                    <a:lnTo>
                      <a:pt x="321" y="444"/>
                    </a:lnTo>
                    <a:lnTo>
                      <a:pt x="322" y="444"/>
                    </a:lnTo>
                    <a:lnTo>
                      <a:pt x="326" y="442"/>
                    </a:lnTo>
                    <a:lnTo>
                      <a:pt x="328" y="441"/>
                    </a:lnTo>
                    <a:lnTo>
                      <a:pt x="328" y="437"/>
                    </a:lnTo>
                    <a:lnTo>
                      <a:pt x="328" y="437"/>
                    </a:lnTo>
                    <a:lnTo>
                      <a:pt x="328" y="433"/>
                    </a:lnTo>
                    <a:lnTo>
                      <a:pt x="326" y="432"/>
                    </a:lnTo>
                    <a:lnTo>
                      <a:pt x="322" y="430"/>
                    </a:lnTo>
                    <a:lnTo>
                      <a:pt x="321" y="430"/>
                    </a:lnTo>
                    <a:lnTo>
                      <a:pt x="197" y="430"/>
                    </a:lnTo>
                    <a:lnTo>
                      <a:pt x="197" y="430"/>
                    </a:lnTo>
                    <a:lnTo>
                      <a:pt x="190" y="428"/>
                    </a:lnTo>
                    <a:lnTo>
                      <a:pt x="185" y="426"/>
                    </a:lnTo>
                    <a:lnTo>
                      <a:pt x="177" y="423"/>
                    </a:lnTo>
                    <a:lnTo>
                      <a:pt x="174" y="419"/>
                    </a:lnTo>
                    <a:lnTo>
                      <a:pt x="168" y="413"/>
                    </a:lnTo>
                    <a:lnTo>
                      <a:pt x="167" y="408"/>
                    </a:lnTo>
                    <a:lnTo>
                      <a:pt x="165" y="403"/>
                    </a:lnTo>
                    <a:lnTo>
                      <a:pt x="163" y="395"/>
                    </a:lnTo>
                    <a:lnTo>
                      <a:pt x="163" y="395"/>
                    </a:lnTo>
                    <a:lnTo>
                      <a:pt x="165" y="388"/>
                    </a:lnTo>
                    <a:lnTo>
                      <a:pt x="167" y="383"/>
                    </a:lnTo>
                    <a:lnTo>
                      <a:pt x="168" y="375"/>
                    </a:lnTo>
                    <a:lnTo>
                      <a:pt x="174" y="372"/>
                    </a:lnTo>
                    <a:lnTo>
                      <a:pt x="177" y="366"/>
                    </a:lnTo>
                    <a:lnTo>
                      <a:pt x="185" y="365"/>
                    </a:lnTo>
                    <a:lnTo>
                      <a:pt x="190" y="361"/>
                    </a:lnTo>
                    <a:lnTo>
                      <a:pt x="197" y="361"/>
                    </a:lnTo>
                    <a:lnTo>
                      <a:pt x="321" y="361"/>
                    </a:lnTo>
                    <a:lnTo>
                      <a:pt x="321" y="361"/>
                    </a:lnTo>
                    <a:lnTo>
                      <a:pt x="322" y="361"/>
                    </a:lnTo>
                    <a:lnTo>
                      <a:pt x="326" y="359"/>
                    </a:lnTo>
                    <a:lnTo>
                      <a:pt x="328" y="357"/>
                    </a:lnTo>
                    <a:lnTo>
                      <a:pt x="328" y="354"/>
                    </a:lnTo>
                    <a:lnTo>
                      <a:pt x="328" y="354"/>
                    </a:lnTo>
                    <a:lnTo>
                      <a:pt x="328" y="350"/>
                    </a:lnTo>
                    <a:lnTo>
                      <a:pt x="326" y="348"/>
                    </a:lnTo>
                    <a:lnTo>
                      <a:pt x="322" y="346"/>
                    </a:lnTo>
                    <a:lnTo>
                      <a:pt x="321" y="346"/>
                    </a:lnTo>
                    <a:lnTo>
                      <a:pt x="201" y="346"/>
                    </a:lnTo>
                    <a:lnTo>
                      <a:pt x="201" y="346"/>
                    </a:lnTo>
                    <a:lnTo>
                      <a:pt x="192" y="345"/>
                    </a:lnTo>
                    <a:lnTo>
                      <a:pt x="185" y="343"/>
                    </a:lnTo>
                    <a:lnTo>
                      <a:pt x="177" y="339"/>
                    </a:lnTo>
                    <a:lnTo>
                      <a:pt x="170" y="334"/>
                    </a:lnTo>
                    <a:lnTo>
                      <a:pt x="167" y="326"/>
                    </a:lnTo>
                    <a:lnTo>
                      <a:pt x="161" y="319"/>
                    </a:lnTo>
                    <a:lnTo>
                      <a:pt x="159" y="312"/>
                    </a:lnTo>
                    <a:lnTo>
                      <a:pt x="159" y="303"/>
                    </a:lnTo>
                    <a:lnTo>
                      <a:pt x="159" y="303"/>
                    </a:lnTo>
                    <a:lnTo>
                      <a:pt x="159" y="294"/>
                    </a:lnTo>
                    <a:lnTo>
                      <a:pt x="161" y="287"/>
                    </a:lnTo>
                    <a:lnTo>
                      <a:pt x="167" y="279"/>
                    </a:lnTo>
                    <a:lnTo>
                      <a:pt x="170" y="272"/>
                    </a:lnTo>
                    <a:lnTo>
                      <a:pt x="177" y="267"/>
                    </a:lnTo>
                    <a:lnTo>
                      <a:pt x="185" y="263"/>
                    </a:lnTo>
                    <a:lnTo>
                      <a:pt x="192" y="261"/>
                    </a:lnTo>
                    <a:lnTo>
                      <a:pt x="201" y="259"/>
                    </a:lnTo>
                    <a:lnTo>
                      <a:pt x="228" y="259"/>
                    </a:lnTo>
                    <a:lnTo>
                      <a:pt x="228" y="259"/>
                    </a:lnTo>
                    <a:lnTo>
                      <a:pt x="228" y="259"/>
                    </a:lnTo>
                    <a:lnTo>
                      <a:pt x="237" y="259"/>
                    </a:lnTo>
                    <a:lnTo>
                      <a:pt x="237" y="259"/>
                    </a:lnTo>
                    <a:lnTo>
                      <a:pt x="243" y="259"/>
                    </a:lnTo>
                    <a:lnTo>
                      <a:pt x="245" y="256"/>
                    </a:lnTo>
                    <a:lnTo>
                      <a:pt x="246" y="250"/>
                    </a:lnTo>
                    <a:lnTo>
                      <a:pt x="246" y="118"/>
                    </a:lnTo>
                    <a:lnTo>
                      <a:pt x="246" y="118"/>
                    </a:lnTo>
                    <a:lnTo>
                      <a:pt x="225" y="123"/>
                    </a:lnTo>
                    <a:lnTo>
                      <a:pt x="225" y="140"/>
                    </a:lnTo>
                    <a:lnTo>
                      <a:pt x="225" y="140"/>
                    </a:lnTo>
                    <a:lnTo>
                      <a:pt x="225" y="178"/>
                    </a:lnTo>
                    <a:lnTo>
                      <a:pt x="225" y="178"/>
                    </a:lnTo>
                    <a:lnTo>
                      <a:pt x="225" y="185"/>
                    </a:lnTo>
                    <a:lnTo>
                      <a:pt x="223" y="191"/>
                    </a:lnTo>
                    <a:lnTo>
                      <a:pt x="217" y="194"/>
                    </a:lnTo>
                    <a:lnTo>
                      <a:pt x="208" y="196"/>
                    </a:lnTo>
                    <a:lnTo>
                      <a:pt x="208" y="196"/>
                    </a:lnTo>
                    <a:lnTo>
                      <a:pt x="194" y="198"/>
                    </a:lnTo>
                    <a:lnTo>
                      <a:pt x="183" y="201"/>
                    </a:lnTo>
                    <a:lnTo>
                      <a:pt x="170" y="205"/>
                    </a:lnTo>
                    <a:lnTo>
                      <a:pt x="158" y="209"/>
                    </a:lnTo>
                    <a:lnTo>
                      <a:pt x="158" y="209"/>
                    </a:lnTo>
                    <a:lnTo>
                      <a:pt x="152" y="207"/>
                    </a:lnTo>
                    <a:lnTo>
                      <a:pt x="147" y="205"/>
                    </a:lnTo>
                    <a:lnTo>
                      <a:pt x="145" y="200"/>
                    </a:lnTo>
                    <a:lnTo>
                      <a:pt x="143" y="191"/>
                    </a:lnTo>
                    <a:lnTo>
                      <a:pt x="141" y="181"/>
                    </a:lnTo>
                    <a:lnTo>
                      <a:pt x="143" y="171"/>
                    </a:lnTo>
                    <a:lnTo>
                      <a:pt x="147" y="147"/>
                    </a:lnTo>
                    <a:lnTo>
                      <a:pt x="154" y="122"/>
                    </a:lnTo>
                    <a:lnTo>
                      <a:pt x="165" y="98"/>
                    </a:lnTo>
                    <a:lnTo>
                      <a:pt x="176" y="78"/>
                    </a:lnTo>
                    <a:lnTo>
                      <a:pt x="181" y="71"/>
                    </a:lnTo>
                    <a:lnTo>
                      <a:pt x="188" y="65"/>
                    </a:lnTo>
                    <a:lnTo>
                      <a:pt x="188" y="65"/>
                    </a:lnTo>
                    <a:lnTo>
                      <a:pt x="196" y="60"/>
                    </a:lnTo>
                    <a:lnTo>
                      <a:pt x="203" y="58"/>
                    </a:lnTo>
                    <a:lnTo>
                      <a:pt x="210" y="58"/>
                    </a:lnTo>
                    <a:lnTo>
                      <a:pt x="216" y="60"/>
                    </a:lnTo>
                    <a:lnTo>
                      <a:pt x="219" y="62"/>
                    </a:lnTo>
                    <a:lnTo>
                      <a:pt x="223" y="67"/>
                    </a:lnTo>
                    <a:lnTo>
                      <a:pt x="223" y="71"/>
                    </a:lnTo>
                    <a:lnTo>
                      <a:pt x="225" y="76"/>
                    </a:lnTo>
                    <a:lnTo>
                      <a:pt x="225" y="100"/>
                    </a:lnTo>
                    <a:lnTo>
                      <a:pt x="246" y="94"/>
                    </a:lnTo>
                    <a:lnTo>
                      <a:pt x="246" y="0"/>
                    </a:lnTo>
                    <a:lnTo>
                      <a:pt x="246" y="0"/>
                    </a:lnTo>
                    <a:lnTo>
                      <a:pt x="134" y="0"/>
                    </a:lnTo>
                    <a:lnTo>
                      <a:pt x="134" y="0"/>
                    </a:lnTo>
                    <a:lnTo>
                      <a:pt x="121" y="0"/>
                    </a:lnTo>
                    <a:lnTo>
                      <a:pt x="107" y="2"/>
                    </a:lnTo>
                    <a:lnTo>
                      <a:pt x="96" y="6"/>
                    </a:lnTo>
                    <a:lnTo>
                      <a:pt x="83" y="9"/>
                    </a:lnTo>
                    <a:lnTo>
                      <a:pt x="72" y="15"/>
                    </a:lnTo>
                    <a:lnTo>
                      <a:pt x="60" y="22"/>
                    </a:lnTo>
                    <a:lnTo>
                      <a:pt x="51" y="29"/>
                    </a:lnTo>
                    <a:lnTo>
                      <a:pt x="40" y="36"/>
                    </a:lnTo>
                    <a:lnTo>
                      <a:pt x="33" y="46"/>
                    </a:lnTo>
                    <a:lnTo>
                      <a:pt x="24" y="56"/>
                    </a:lnTo>
                    <a:lnTo>
                      <a:pt x="16" y="67"/>
                    </a:lnTo>
                    <a:lnTo>
                      <a:pt x="11" y="78"/>
                    </a:lnTo>
                    <a:lnTo>
                      <a:pt x="7" y="89"/>
                    </a:lnTo>
                    <a:lnTo>
                      <a:pt x="4" y="102"/>
                    </a:lnTo>
                    <a:lnTo>
                      <a:pt x="2" y="114"/>
                    </a:lnTo>
                    <a:lnTo>
                      <a:pt x="0" y="127"/>
                    </a:lnTo>
                    <a:lnTo>
                      <a:pt x="0" y="127"/>
                    </a:lnTo>
                    <a:lnTo>
                      <a:pt x="0" y="437"/>
                    </a:lnTo>
                    <a:lnTo>
                      <a:pt x="0" y="437"/>
                    </a:lnTo>
                    <a:lnTo>
                      <a:pt x="2" y="444"/>
                    </a:lnTo>
                    <a:lnTo>
                      <a:pt x="4" y="453"/>
                    </a:lnTo>
                    <a:lnTo>
                      <a:pt x="7" y="461"/>
                    </a:lnTo>
                    <a:lnTo>
                      <a:pt x="13" y="468"/>
                    </a:lnTo>
                    <a:lnTo>
                      <a:pt x="20" y="473"/>
                    </a:lnTo>
                    <a:lnTo>
                      <a:pt x="27" y="477"/>
                    </a:lnTo>
                    <a:lnTo>
                      <a:pt x="34" y="479"/>
                    </a:lnTo>
                    <a:lnTo>
                      <a:pt x="43" y="481"/>
                    </a:lnTo>
                    <a:lnTo>
                      <a:pt x="43" y="481"/>
                    </a:lnTo>
                    <a:lnTo>
                      <a:pt x="53" y="479"/>
                    </a:lnTo>
                    <a:lnTo>
                      <a:pt x="60" y="477"/>
                    </a:lnTo>
                    <a:lnTo>
                      <a:pt x="67" y="473"/>
                    </a:lnTo>
                    <a:lnTo>
                      <a:pt x="74" y="468"/>
                    </a:lnTo>
                    <a:lnTo>
                      <a:pt x="80" y="461"/>
                    </a:lnTo>
                    <a:lnTo>
                      <a:pt x="83" y="453"/>
                    </a:lnTo>
                    <a:lnTo>
                      <a:pt x="87" y="444"/>
                    </a:lnTo>
                    <a:lnTo>
                      <a:pt x="87" y="437"/>
                    </a:lnTo>
                    <a:lnTo>
                      <a:pt x="87" y="437"/>
                    </a:lnTo>
                    <a:lnTo>
                      <a:pt x="87" y="158"/>
                    </a:lnTo>
                    <a:lnTo>
                      <a:pt x="123" y="158"/>
                    </a:lnTo>
                    <a:lnTo>
                      <a:pt x="123" y="495"/>
                    </a:lnTo>
                    <a:lnTo>
                      <a:pt x="395" y="495"/>
                    </a:lnTo>
                    <a:lnTo>
                      <a:pt x="395" y="158"/>
                    </a:lnTo>
                    <a:lnTo>
                      <a:pt x="431" y="158"/>
                    </a:lnTo>
                    <a:lnTo>
                      <a:pt x="431" y="158"/>
                    </a:lnTo>
                    <a:lnTo>
                      <a:pt x="431" y="437"/>
                    </a:lnTo>
                    <a:lnTo>
                      <a:pt x="431" y="437"/>
                    </a:lnTo>
                    <a:lnTo>
                      <a:pt x="431" y="444"/>
                    </a:lnTo>
                    <a:lnTo>
                      <a:pt x="435" y="453"/>
                    </a:lnTo>
                    <a:lnTo>
                      <a:pt x="438" y="461"/>
                    </a:lnTo>
                    <a:lnTo>
                      <a:pt x="444" y="468"/>
                    </a:lnTo>
                    <a:lnTo>
                      <a:pt x="451" y="473"/>
                    </a:lnTo>
                    <a:lnTo>
                      <a:pt x="458" y="477"/>
                    </a:lnTo>
                    <a:lnTo>
                      <a:pt x="465" y="479"/>
                    </a:lnTo>
                    <a:lnTo>
                      <a:pt x="475" y="481"/>
                    </a:lnTo>
                    <a:lnTo>
                      <a:pt x="475" y="481"/>
                    </a:lnTo>
                    <a:lnTo>
                      <a:pt x="484" y="479"/>
                    </a:lnTo>
                    <a:lnTo>
                      <a:pt x="491" y="477"/>
                    </a:lnTo>
                    <a:lnTo>
                      <a:pt x="498" y="473"/>
                    </a:lnTo>
                    <a:lnTo>
                      <a:pt x="505" y="468"/>
                    </a:lnTo>
                    <a:lnTo>
                      <a:pt x="511" y="461"/>
                    </a:lnTo>
                    <a:lnTo>
                      <a:pt x="514" y="453"/>
                    </a:lnTo>
                    <a:lnTo>
                      <a:pt x="516" y="444"/>
                    </a:lnTo>
                    <a:lnTo>
                      <a:pt x="518" y="437"/>
                    </a:lnTo>
                    <a:lnTo>
                      <a:pt x="518" y="437"/>
                    </a:lnTo>
                    <a:lnTo>
                      <a:pt x="518" y="127"/>
                    </a:lnTo>
                    <a:lnTo>
                      <a:pt x="518" y="127"/>
                    </a:lnTo>
                    <a:lnTo>
                      <a:pt x="516" y="114"/>
                    </a:lnTo>
                    <a:lnTo>
                      <a:pt x="514" y="102"/>
                    </a:lnTo>
                    <a:lnTo>
                      <a:pt x="513" y="89"/>
                    </a:lnTo>
                    <a:lnTo>
                      <a:pt x="507" y="78"/>
                    </a:lnTo>
                    <a:lnTo>
                      <a:pt x="502" y="67"/>
                    </a:lnTo>
                    <a:lnTo>
                      <a:pt x="496" y="56"/>
                    </a:lnTo>
                    <a:lnTo>
                      <a:pt x="489" y="46"/>
                    </a:lnTo>
                    <a:lnTo>
                      <a:pt x="480" y="36"/>
                    </a:lnTo>
                    <a:lnTo>
                      <a:pt x="471" y="29"/>
                    </a:lnTo>
                    <a:lnTo>
                      <a:pt x="462" y="22"/>
                    </a:lnTo>
                    <a:lnTo>
                      <a:pt x="451" y="15"/>
                    </a:lnTo>
                    <a:lnTo>
                      <a:pt x="438" y="9"/>
                    </a:lnTo>
                    <a:lnTo>
                      <a:pt x="427" y="6"/>
                    </a:lnTo>
                    <a:lnTo>
                      <a:pt x="415" y="2"/>
                    </a:lnTo>
                    <a:lnTo>
                      <a:pt x="402" y="0"/>
                    </a:lnTo>
                    <a:lnTo>
                      <a:pt x="389" y="0"/>
                    </a:lnTo>
                    <a:lnTo>
                      <a:pt x="389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defRPr/>
                </a:pPr>
                <a:endParaRPr lang="en-US" kern="0" dirty="0">
                  <a:solidFill>
                    <a:prstClr val="black"/>
                  </a:solidFill>
                </a:endParaRPr>
              </a:p>
            </p:txBody>
          </p:sp>
        </p:grpSp>
      </p:grpSp>
      <p:grpSp>
        <p:nvGrpSpPr>
          <p:cNvPr id="100" name="Group 99"/>
          <p:cNvGrpSpPr>
            <a:grpSpLocks/>
          </p:cNvGrpSpPr>
          <p:nvPr/>
        </p:nvGrpSpPr>
        <p:grpSpPr>
          <a:xfrm>
            <a:off x="1489934" y="1190136"/>
            <a:ext cx="150444" cy="353870"/>
            <a:chOff x="8594804" y="1653116"/>
            <a:chExt cx="192709" cy="461052"/>
          </a:xfrm>
        </p:grpSpPr>
        <p:sp>
          <p:nvSpPr>
            <p:cNvPr id="101" name="Oval 100"/>
            <p:cNvSpPr/>
            <p:nvPr/>
          </p:nvSpPr>
          <p:spPr>
            <a:xfrm>
              <a:off x="8639379" y="1653116"/>
              <a:ext cx="100493" cy="100493"/>
            </a:xfrm>
            <a:prstGeom prst="ellipse">
              <a:avLst/>
            </a:prstGeom>
            <a:solidFill>
              <a:srgbClr val="7C2529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>
                <a:defRPr/>
              </a:pPr>
              <a:endParaRPr lang="en-US" kern="0" dirty="0" smtClean="0">
                <a:solidFill>
                  <a:prstClr val="black"/>
                </a:solidFill>
              </a:endParaRPr>
            </a:p>
          </p:txBody>
        </p:sp>
        <p:sp>
          <p:nvSpPr>
            <p:cNvPr id="102" name="Freeform 101"/>
            <p:cNvSpPr/>
            <p:nvPr/>
          </p:nvSpPr>
          <p:spPr>
            <a:xfrm>
              <a:off x="8594804" y="1757407"/>
              <a:ext cx="192709" cy="356761"/>
            </a:xfrm>
            <a:custGeom>
              <a:avLst/>
              <a:gdLst>
                <a:gd name="connsiteX0" fmla="*/ 136525 w 561975"/>
                <a:gd name="connsiteY0" fmla="*/ 987425 h 1003300"/>
                <a:gd name="connsiteX1" fmla="*/ 136525 w 561975"/>
                <a:gd name="connsiteY1" fmla="*/ 669925 h 1003300"/>
                <a:gd name="connsiteX2" fmla="*/ 79375 w 561975"/>
                <a:gd name="connsiteY2" fmla="*/ 669925 h 1003300"/>
                <a:gd name="connsiteX3" fmla="*/ 133350 w 561975"/>
                <a:gd name="connsiteY3" fmla="*/ 377825 h 1003300"/>
                <a:gd name="connsiteX4" fmla="*/ 133350 w 561975"/>
                <a:gd name="connsiteY4" fmla="*/ 285750 h 1003300"/>
                <a:gd name="connsiteX5" fmla="*/ 95250 w 561975"/>
                <a:gd name="connsiteY5" fmla="*/ 438150 h 1003300"/>
                <a:gd name="connsiteX6" fmla="*/ 0 w 561975"/>
                <a:gd name="connsiteY6" fmla="*/ 438150 h 1003300"/>
                <a:gd name="connsiteX7" fmla="*/ 238125 w 561975"/>
                <a:gd name="connsiteY7" fmla="*/ 6350 h 1003300"/>
                <a:gd name="connsiteX8" fmla="*/ 269875 w 561975"/>
                <a:gd name="connsiteY8" fmla="*/ 41275 h 1003300"/>
                <a:gd name="connsiteX9" fmla="*/ 307975 w 561975"/>
                <a:gd name="connsiteY9" fmla="*/ 0 h 1003300"/>
                <a:gd name="connsiteX10" fmla="*/ 561975 w 561975"/>
                <a:gd name="connsiteY10" fmla="*/ 434975 h 1003300"/>
                <a:gd name="connsiteX11" fmla="*/ 463550 w 561975"/>
                <a:gd name="connsiteY11" fmla="*/ 434975 h 1003300"/>
                <a:gd name="connsiteX12" fmla="*/ 422275 w 561975"/>
                <a:gd name="connsiteY12" fmla="*/ 254000 h 1003300"/>
                <a:gd name="connsiteX13" fmla="*/ 428625 w 561975"/>
                <a:gd name="connsiteY13" fmla="*/ 390525 h 1003300"/>
                <a:gd name="connsiteX14" fmla="*/ 476250 w 561975"/>
                <a:gd name="connsiteY14" fmla="*/ 679450 h 1003300"/>
                <a:gd name="connsiteX15" fmla="*/ 412750 w 561975"/>
                <a:gd name="connsiteY15" fmla="*/ 679450 h 1003300"/>
                <a:gd name="connsiteX16" fmla="*/ 412750 w 561975"/>
                <a:gd name="connsiteY16" fmla="*/ 1003300 h 1003300"/>
                <a:gd name="connsiteX17" fmla="*/ 285750 w 561975"/>
                <a:gd name="connsiteY17" fmla="*/ 1003300 h 1003300"/>
                <a:gd name="connsiteX18" fmla="*/ 279400 w 561975"/>
                <a:gd name="connsiteY18" fmla="*/ 676275 h 1003300"/>
                <a:gd name="connsiteX19" fmla="*/ 266700 w 561975"/>
                <a:gd name="connsiteY19" fmla="*/ 990600 h 1003300"/>
                <a:gd name="connsiteX20" fmla="*/ 136525 w 561975"/>
                <a:gd name="connsiteY20" fmla="*/ 987425 h 1003300"/>
                <a:gd name="connsiteX0" fmla="*/ 136525 w 561975"/>
                <a:gd name="connsiteY0" fmla="*/ 987425 h 1003300"/>
                <a:gd name="connsiteX1" fmla="*/ 136525 w 561975"/>
                <a:gd name="connsiteY1" fmla="*/ 669925 h 1003300"/>
                <a:gd name="connsiteX2" fmla="*/ 79375 w 561975"/>
                <a:gd name="connsiteY2" fmla="*/ 669925 h 1003300"/>
                <a:gd name="connsiteX3" fmla="*/ 133350 w 561975"/>
                <a:gd name="connsiteY3" fmla="*/ 377825 h 1003300"/>
                <a:gd name="connsiteX4" fmla="*/ 133350 w 561975"/>
                <a:gd name="connsiteY4" fmla="*/ 285750 h 1003300"/>
                <a:gd name="connsiteX5" fmla="*/ 95250 w 561975"/>
                <a:gd name="connsiteY5" fmla="*/ 438150 h 1003300"/>
                <a:gd name="connsiteX6" fmla="*/ 0 w 561975"/>
                <a:gd name="connsiteY6" fmla="*/ 438150 h 1003300"/>
                <a:gd name="connsiteX7" fmla="*/ 238125 w 561975"/>
                <a:gd name="connsiteY7" fmla="*/ 6350 h 1003300"/>
                <a:gd name="connsiteX8" fmla="*/ 269875 w 561975"/>
                <a:gd name="connsiteY8" fmla="*/ 41275 h 1003300"/>
                <a:gd name="connsiteX9" fmla="*/ 307975 w 561975"/>
                <a:gd name="connsiteY9" fmla="*/ 0 h 1003300"/>
                <a:gd name="connsiteX10" fmla="*/ 561975 w 561975"/>
                <a:gd name="connsiteY10" fmla="*/ 434975 h 1003300"/>
                <a:gd name="connsiteX11" fmla="*/ 463550 w 561975"/>
                <a:gd name="connsiteY11" fmla="*/ 434975 h 1003300"/>
                <a:gd name="connsiteX12" fmla="*/ 422275 w 561975"/>
                <a:gd name="connsiteY12" fmla="*/ 254000 h 1003300"/>
                <a:gd name="connsiteX13" fmla="*/ 428625 w 561975"/>
                <a:gd name="connsiteY13" fmla="*/ 390525 h 1003300"/>
                <a:gd name="connsiteX14" fmla="*/ 476250 w 561975"/>
                <a:gd name="connsiteY14" fmla="*/ 679450 h 1003300"/>
                <a:gd name="connsiteX15" fmla="*/ 412750 w 561975"/>
                <a:gd name="connsiteY15" fmla="*/ 679450 h 1003300"/>
                <a:gd name="connsiteX16" fmla="*/ 412750 w 561975"/>
                <a:gd name="connsiteY16" fmla="*/ 1003300 h 1003300"/>
                <a:gd name="connsiteX17" fmla="*/ 285750 w 561975"/>
                <a:gd name="connsiteY17" fmla="*/ 1003300 h 1003300"/>
                <a:gd name="connsiteX18" fmla="*/ 279400 w 561975"/>
                <a:gd name="connsiteY18" fmla="*/ 676275 h 1003300"/>
                <a:gd name="connsiteX19" fmla="*/ 266700 w 561975"/>
                <a:gd name="connsiteY19" fmla="*/ 990600 h 1003300"/>
                <a:gd name="connsiteX20" fmla="*/ 136525 w 561975"/>
                <a:gd name="connsiteY20" fmla="*/ 987425 h 1003300"/>
                <a:gd name="connsiteX0" fmla="*/ 136525 w 561975"/>
                <a:gd name="connsiteY0" fmla="*/ 987425 h 1003300"/>
                <a:gd name="connsiteX1" fmla="*/ 136525 w 561975"/>
                <a:gd name="connsiteY1" fmla="*/ 669925 h 1003300"/>
                <a:gd name="connsiteX2" fmla="*/ 79375 w 561975"/>
                <a:gd name="connsiteY2" fmla="*/ 669925 h 1003300"/>
                <a:gd name="connsiteX3" fmla="*/ 133350 w 561975"/>
                <a:gd name="connsiteY3" fmla="*/ 377825 h 1003300"/>
                <a:gd name="connsiteX4" fmla="*/ 133350 w 561975"/>
                <a:gd name="connsiteY4" fmla="*/ 285750 h 1003300"/>
                <a:gd name="connsiteX5" fmla="*/ 95250 w 561975"/>
                <a:gd name="connsiteY5" fmla="*/ 438150 h 1003300"/>
                <a:gd name="connsiteX6" fmla="*/ 0 w 561975"/>
                <a:gd name="connsiteY6" fmla="*/ 438150 h 1003300"/>
                <a:gd name="connsiteX7" fmla="*/ 238125 w 561975"/>
                <a:gd name="connsiteY7" fmla="*/ 6350 h 1003300"/>
                <a:gd name="connsiteX8" fmla="*/ 269875 w 561975"/>
                <a:gd name="connsiteY8" fmla="*/ 41275 h 1003300"/>
                <a:gd name="connsiteX9" fmla="*/ 307975 w 561975"/>
                <a:gd name="connsiteY9" fmla="*/ 0 h 1003300"/>
                <a:gd name="connsiteX10" fmla="*/ 561975 w 561975"/>
                <a:gd name="connsiteY10" fmla="*/ 434975 h 1003300"/>
                <a:gd name="connsiteX11" fmla="*/ 463550 w 561975"/>
                <a:gd name="connsiteY11" fmla="*/ 434975 h 1003300"/>
                <a:gd name="connsiteX12" fmla="*/ 422275 w 561975"/>
                <a:gd name="connsiteY12" fmla="*/ 254000 h 1003300"/>
                <a:gd name="connsiteX13" fmla="*/ 428625 w 561975"/>
                <a:gd name="connsiteY13" fmla="*/ 390525 h 1003300"/>
                <a:gd name="connsiteX14" fmla="*/ 476250 w 561975"/>
                <a:gd name="connsiteY14" fmla="*/ 679450 h 1003300"/>
                <a:gd name="connsiteX15" fmla="*/ 412750 w 561975"/>
                <a:gd name="connsiteY15" fmla="*/ 679450 h 1003300"/>
                <a:gd name="connsiteX16" fmla="*/ 412750 w 561975"/>
                <a:gd name="connsiteY16" fmla="*/ 1003300 h 1003300"/>
                <a:gd name="connsiteX17" fmla="*/ 285750 w 561975"/>
                <a:gd name="connsiteY17" fmla="*/ 1003300 h 1003300"/>
                <a:gd name="connsiteX18" fmla="*/ 279400 w 561975"/>
                <a:gd name="connsiteY18" fmla="*/ 676275 h 1003300"/>
                <a:gd name="connsiteX19" fmla="*/ 266700 w 561975"/>
                <a:gd name="connsiteY19" fmla="*/ 990600 h 1003300"/>
                <a:gd name="connsiteX20" fmla="*/ 136525 w 561975"/>
                <a:gd name="connsiteY20" fmla="*/ 987425 h 1003300"/>
                <a:gd name="connsiteX0" fmla="*/ 136525 w 561975"/>
                <a:gd name="connsiteY0" fmla="*/ 987425 h 1003300"/>
                <a:gd name="connsiteX1" fmla="*/ 136525 w 561975"/>
                <a:gd name="connsiteY1" fmla="*/ 669925 h 1003300"/>
                <a:gd name="connsiteX2" fmla="*/ 79375 w 561975"/>
                <a:gd name="connsiteY2" fmla="*/ 669925 h 1003300"/>
                <a:gd name="connsiteX3" fmla="*/ 133350 w 561975"/>
                <a:gd name="connsiteY3" fmla="*/ 377825 h 1003300"/>
                <a:gd name="connsiteX4" fmla="*/ 133350 w 561975"/>
                <a:gd name="connsiteY4" fmla="*/ 285750 h 1003300"/>
                <a:gd name="connsiteX5" fmla="*/ 95250 w 561975"/>
                <a:gd name="connsiteY5" fmla="*/ 438150 h 1003300"/>
                <a:gd name="connsiteX6" fmla="*/ 0 w 561975"/>
                <a:gd name="connsiteY6" fmla="*/ 438150 h 1003300"/>
                <a:gd name="connsiteX7" fmla="*/ 238125 w 561975"/>
                <a:gd name="connsiteY7" fmla="*/ 6350 h 1003300"/>
                <a:gd name="connsiteX8" fmla="*/ 269875 w 561975"/>
                <a:gd name="connsiteY8" fmla="*/ 41275 h 1003300"/>
                <a:gd name="connsiteX9" fmla="*/ 307975 w 561975"/>
                <a:gd name="connsiteY9" fmla="*/ 0 h 1003300"/>
                <a:gd name="connsiteX10" fmla="*/ 561975 w 561975"/>
                <a:gd name="connsiteY10" fmla="*/ 434975 h 1003300"/>
                <a:gd name="connsiteX11" fmla="*/ 463550 w 561975"/>
                <a:gd name="connsiteY11" fmla="*/ 434975 h 1003300"/>
                <a:gd name="connsiteX12" fmla="*/ 422275 w 561975"/>
                <a:gd name="connsiteY12" fmla="*/ 254000 h 1003300"/>
                <a:gd name="connsiteX13" fmla="*/ 428625 w 561975"/>
                <a:gd name="connsiteY13" fmla="*/ 390525 h 1003300"/>
                <a:gd name="connsiteX14" fmla="*/ 476250 w 561975"/>
                <a:gd name="connsiteY14" fmla="*/ 679450 h 1003300"/>
                <a:gd name="connsiteX15" fmla="*/ 412750 w 561975"/>
                <a:gd name="connsiteY15" fmla="*/ 679450 h 1003300"/>
                <a:gd name="connsiteX16" fmla="*/ 412750 w 561975"/>
                <a:gd name="connsiteY16" fmla="*/ 1003300 h 1003300"/>
                <a:gd name="connsiteX17" fmla="*/ 285750 w 561975"/>
                <a:gd name="connsiteY17" fmla="*/ 1003300 h 1003300"/>
                <a:gd name="connsiteX18" fmla="*/ 279400 w 561975"/>
                <a:gd name="connsiteY18" fmla="*/ 676275 h 1003300"/>
                <a:gd name="connsiteX19" fmla="*/ 266700 w 561975"/>
                <a:gd name="connsiteY19" fmla="*/ 990600 h 1003300"/>
                <a:gd name="connsiteX20" fmla="*/ 136525 w 561975"/>
                <a:gd name="connsiteY20" fmla="*/ 987425 h 1003300"/>
                <a:gd name="connsiteX0" fmla="*/ 136525 w 561975"/>
                <a:gd name="connsiteY0" fmla="*/ 987425 h 1003300"/>
                <a:gd name="connsiteX1" fmla="*/ 136525 w 561975"/>
                <a:gd name="connsiteY1" fmla="*/ 669925 h 1003300"/>
                <a:gd name="connsiteX2" fmla="*/ 79375 w 561975"/>
                <a:gd name="connsiteY2" fmla="*/ 669925 h 1003300"/>
                <a:gd name="connsiteX3" fmla="*/ 133350 w 561975"/>
                <a:gd name="connsiteY3" fmla="*/ 377825 h 1003300"/>
                <a:gd name="connsiteX4" fmla="*/ 133350 w 561975"/>
                <a:gd name="connsiteY4" fmla="*/ 285750 h 1003300"/>
                <a:gd name="connsiteX5" fmla="*/ 95250 w 561975"/>
                <a:gd name="connsiteY5" fmla="*/ 438150 h 1003300"/>
                <a:gd name="connsiteX6" fmla="*/ 0 w 561975"/>
                <a:gd name="connsiteY6" fmla="*/ 438150 h 1003300"/>
                <a:gd name="connsiteX7" fmla="*/ 238125 w 561975"/>
                <a:gd name="connsiteY7" fmla="*/ 6350 h 1003300"/>
                <a:gd name="connsiteX8" fmla="*/ 269875 w 561975"/>
                <a:gd name="connsiteY8" fmla="*/ 41275 h 1003300"/>
                <a:gd name="connsiteX9" fmla="*/ 307975 w 561975"/>
                <a:gd name="connsiteY9" fmla="*/ 0 h 1003300"/>
                <a:gd name="connsiteX10" fmla="*/ 561975 w 561975"/>
                <a:gd name="connsiteY10" fmla="*/ 434975 h 1003300"/>
                <a:gd name="connsiteX11" fmla="*/ 463550 w 561975"/>
                <a:gd name="connsiteY11" fmla="*/ 434975 h 1003300"/>
                <a:gd name="connsiteX12" fmla="*/ 422275 w 561975"/>
                <a:gd name="connsiteY12" fmla="*/ 254000 h 1003300"/>
                <a:gd name="connsiteX13" fmla="*/ 428625 w 561975"/>
                <a:gd name="connsiteY13" fmla="*/ 390525 h 1003300"/>
                <a:gd name="connsiteX14" fmla="*/ 476250 w 561975"/>
                <a:gd name="connsiteY14" fmla="*/ 679450 h 1003300"/>
                <a:gd name="connsiteX15" fmla="*/ 412750 w 561975"/>
                <a:gd name="connsiteY15" fmla="*/ 679450 h 1003300"/>
                <a:gd name="connsiteX16" fmla="*/ 412750 w 561975"/>
                <a:gd name="connsiteY16" fmla="*/ 1003300 h 1003300"/>
                <a:gd name="connsiteX17" fmla="*/ 285750 w 561975"/>
                <a:gd name="connsiteY17" fmla="*/ 1003300 h 1003300"/>
                <a:gd name="connsiteX18" fmla="*/ 279400 w 561975"/>
                <a:gd name="connsiteY18" fmla="*/ 676275 h 1003300"/>
                <a:gd name="connsiteX19" fmla="*/ 266700 w 561975"/>
                <a:gd name="connsiteY19" fmla="*/ 990600 h 1003300"/>
                <a:gd name="connsiteX20" fmla="*/ 136525 w 561975"/>
                <a:gd name="connsiteY20" fmla="*/ 987425 h 1003300"/>
                <a:gd name="connsiteX0" fmla="*/ 136525 w 561975"/>
                <a:gd name="connsiteY0" fmla="*/ 987425 h 1003300"/>
                <a:gd name="connsiteX1" fmla="*/ 136525 w 561975"/>
                <a:gd name="connsiteY1" fmla="*/ 669925 h 1003300"/>
                <a:gd name="connsiteX2" fmla="*/ 79375 w 561975"/>
                <a:gd name="connsiteY2" fmla="*/ 669925 h 1003300"/>
                <a:gd name="connsiteX3" fmla="*/ 133350 w 561975"/>
                <a:gd name="connsiteY3" fmla="*/ 377825 h 1003300"/>
                <a:gd name="connsiteX4" fmla="*/ 133350 w 561975"/>
                <a:gd name="connsiteY4" fmla="*/ 285750 h 1003300"/>
                <a:gd name="connsiteX5" fmla="*/ 95250 w 561975"/>
                <a:gd name="connsiteY5" fmla="*/ 438150 h 1003300"/>
                <a:gd name="connsiteX6" fmla="*/ 0 w 561975"/>
                <a:gd name="connsiteY6" fmla="*/ 438150 h 1003300"/>
                <a:gd name="connsiteX7" fmla="*/ 238125 w 561975"/>
                <a:gd name="connsiteY7" fmla="*/ 6350 h 1003300"/>
                <a:gd name="connsiteX8" fmla="*/ 269875 w 561975"/>
                <a:gd name="connsiteY8" fmla="*/ 41275 h 1003300"/>
                <a:gd name="connsiteX9" fmla="*/ 307975 w 561975"/>
                <a:gd name="connsiteY9" fmla="*/ 0 h 1003300"/>
                <a:gd name="connsiteX10" fmla="*/ 561975 w 561975"/>
                <a:gd name="connsiteY10" fmla="*/ 434975 h 1003300"/>
                <a:gd name="connsiteX11" fmla="*/ 463550 w 561975"/>
                <a:gd name="connsiteY11" fmla="*/ 434975 h 1003300"/>
                <a:gd name="connsiteX12" fmla="*/ 422275 w 561975"/>
                <a:gd name="connsiteY12" fmla="*/ 254000 h 1003300"/>
                <a:gd name="connsiteX13" fmla="*/ 428625 w 561975"/>
                <a:gd name="connsiteY13" fmla="*/ 390525 h 1003300"/>
                <a:gd name="connsiteX14" fmla="*/ 476250 w 561975"/>
                <a:gd name="connsiteY14" fmla="*/ 679450 h 1003300"/>
                <a:gd name="connsiteX15" fmla="*/ 412750 w 561975"/>
                <a:gd name="connsiteY15" fmla="*/ 679450 h 1003300"/>
                <a:gd name="connsiteX16" fmla="*/ 412750 w 561975"/>
                <a:gd name="connsiteY16" fmla="*/ 1003300 h 1003300"/>
                <a:gd name="connsiteX17" fmla="*/ 285750 w 561975"/>
                <a:gd name="connsiteY17" fmla="*/ 1003300 h 1003300"/>
                <a:gd name="connsiteX18" fmla="*/ 279400 w 561975"/>
                <a:gd name="connsiteY18" fmla="*/ 676275 h 1003300"/>
                <a:gd name="connsiteX19" fmla="*/ 266700 w 561975"/>
                <a:gd name="connsiteY19" fmla="*/ 990600 h 1003300"/>
                <a:gd name="connsiteX20" fmla="*/ 136525 w 561975"/>
                <a:gd name="connsiteY20" fmla="*/ 987425 h 1003300"/>
                <a:gd name="connsiteX0" fmla="*/ 137274 w 562724"/>
                <a:gd name="connsiteY0" fmla="*/ 987425 h 1003300"/>
                <a:gd name="connsiteX1" fmla="*/ 137274 w 562724"/>
                <a:gd name="connsiteY1" fmla="*/ 669925 h 1003300"/>
                <a:gd name="connsiteX2" fmla="*/ 80124 w 562724"/>
                <a:gd name="connsiteY2" fmla="*/ 669925 h 1003300"/>
                <a:gd name="connsiteX3" fmla="*/ 134099 w 562724"/>
                <a:gd name="connsiteY3" fmla="*/ 377825 h 1003300"/>
                <a:gd name="connsiteX4" fmla="*/ 134099 w 562724"/>
                <a:gd name="connsiteY4" fmla="*/ 285750 h 1003300"/>
                <a:gd name="connsiteX5" fmla="*/ 95999 w 562724"/>
                <a:gd name="connsiteY5" fmla="*/ 438150 h 1003300"/>
                <a:gd name="connsiteX6" fmla="*/ 749 w 562724"/>
                <a:gd name="connsiteY6" fmla="*/ 438150 h 1003300"/>
                <a:gd name="connsiteX7" fmla="*/ 238874 w 562724"/>
                <a:gd name="connsiteY7" fmla="*/ 6350 h 1003300"/>
                <a:gd name="connsiteX8" fmla="*/ 270624 w 562724"/>
                <a:gd name="connsiteY8" fmla="*/ 41275 h 1003300"/>
                <a:gd name="connsiteX9" fmla="*/ 308724 w 562724"/>
                <a:gd name="connsiteY9" fmla="*/ 0 h 1003300"/>
                <a:gd name="connsiteX10" fmla="*/ 562724 w 562724"/>
                <a:gd name="connsiteY10" fmla="*/ 434975 h 1003300"/>
                <a:gd name="connsiteX11" fmla="*/ 464299 w 562724"/>
                <a:gd name="connsiteY11" fmla="*/ 434975 h 1003300"/>
                <a:gd name="connsiteX12" fmla="*/ 423024 w 562724"/>
                <a:gd name="connsiteY12" fmla="*/ 254000 h 1003300"/>
                <a:gd name="connsiteX13" fmla="*/ 429374 w 562724"/>
                <a:gd name="connsiteY13" fmla="*/ 390525 h 1003300"/>
                <a:gd name="connsiteX14" fmla="*/ 476999 w 562724"/>
                <a:gd name="connsiteY14" fmla="*/ 679450 h 1003300"/>
                <a:gd name="connsiteX15" fmla="*/ 413499 w 562724"/>
                <a:gd name="connsiteY15" fmla="*/ 679450 h 1003300"/>
                <a:gd name="connsiteX16" fmla="*/ 413499 w 562724"/>
                <a:gd name="connsiteY16" fmla="*/ 1003300 h 1003300"/>
                <a:gd name="connsiteX17" fmla="*/ 286499 w 562724"/>
                <a:gd name="connsiteY17" fmla="*/ 1003300 h 1003300"/>
                <a:gd name="connsiteX18" fmla="*/ 280149 w 562724"/>
                <a:gd name="connsiteY18" fmla="*/ 676275 h 1003300"/>
                <a:gd name="connsiteX19" fmla="*/ 267449 w 562724"/>
                <a:gd name="connsiteY19" fmla="*/ 990600 h 1003300"/>
                <a:gd name="connsiteX20" fmla="*/ 137274 w 562724"/>
                <a:gd name="connsiteY20" fmla="*/ 987425 h 1003300"/>
                <a:gd name="connsiteX0" fmla="*/ 137423 w 562873"/>
                <a:gd name="connsiteY0" fmla="*/ 987425 h 1003300"/>
                <a:gd name="connsiteX1" fmla="*/ 137423 w 562873"/>
                <a:gd name="connsiteY1" fmla="*/ 669925 h 1003300"/>
                <a:gd name="connsiteX2" fmla="*/ 80273 w 562873"/>
                <a:gd name="connsiteY2" fmla="*/ 669925 h 1003300"/>
                <a:gd name="connsiteX3" fmla="*/ 134248 w 562873"/>
                <a:gd name="connsiteY3" fmla="*/ 377825 h 1003300"/>
                <a:gd name="connsiteX4" fmla="*/ 134248 w 562873"/>
                <a:gd name="connsiteY4" fmla="*/ 285750 h 1003300"/>
                <a:gd name="connsiteX5" fmla="*/ 96148 w 562873"/>
                <a:gd name="connsiteY5" fmla="*/ 438150 h 1003300"/>
                <a:gd name="connsiteX6" fmla="*/ 898 w 562873"/>
                <a:gd name="connsiteY6" fmla="*/ 438150 h 1003300"/>
                <a:gd name="connsiteX7" fmla="*/ 239023 w 562873"/>
                <a:gd name="connsiteY7" fmla="*/ 6350 h 1003300"/>
                <a:gd name="connsiteX8" fmla="*/ 270773 w 562873"/>
                <a:gd name="connsiteY8" fmla="*/ 41275 h 1003300"/>
                <a:gd name="connsiteX9" fmla="*/ 308873 w 562873"/>
                <a:gd name="connsiteY9" fmla="*/ 0 h 1003300"/>
                <a:gd name="connsiteX10" fmla="*/ 562873 w 562873"/>
                <a:gd name="connsiteY10" fmla="*/ 434975 h 1003300"/>
                <a:gd name="connsiteX11" fmla="*/ 464448 w 562873"/>
                <a:gd name="connsiteY11" fmla="*/ 434975 h 1003300"/>
                <a:gd name="connsiteX12" fmla="*/ 423173 w 562873"/>
                <a:gd name="connsiteY12" fmla="*/ 254000 h 1003300"/>
                <a:gd name="connsiteX13" fmla="*/ 429523 w 562873"/>
                <a:gd name="connsiteY13" fmla="*/ 390525 h 1003300"/>
                <a:gd name="connsiteX14" fmla="*/ 477148 w 562873"/>
                <a:gd name="connsiteY14" fmla="*/ 679450 h 1003300"/>
                <a:gd name="connsiteX15" fmla="*/ 413648 w 562873"/>
                <a:gd name="connsiteY15" fmla="*/ 679450 h 1003300"/>
                <a:gd name="connsiteX16" fmla="*/ 413648 w 562873"/>
                <a:gd name="connsiteY16" fmla="*/ 1003300 h 1003300"/>
                <a:gd name="connsiteX17" fmla="*/ 286648 w 562873"/>
                <a:gd name="connsiteY17" fmla="*/ 1003300 h 1003300"/>
                <a:gd name="connsiteX18" fmla="*/ 280298 w 562873"/>
                <a:gd name="connsiteY18" fmla="*/ 676275 h 1003300"/>
                <a:gd name="connsiteX19" fmla="*/ 267598 w 562873"/>
                <a:gd name="connsiteY19" fmla="*/ 990600 h 1003300"/>
                <a:gd name="connsiteX20" fmla="*/ 137423 w 562873"/>
                <a:gd name="connsiteY20" fmla="*/ 987425 h 1003300"/>
                <a:gd name="connsiteX0" fmla="*/ 137423 w 562873"/>
                <a:gd name="connsiteY0" fmla="*/ 981075 h 996950"/>
                <a:gd name="connsiteX1" fmla="*/ 137423 w 562873"/>
                <a:gd name="connsiteY1" fmla="*/ 663575 h 996950"/>
                <a:gd name="connsiteX2" fmla="*/ 80273 w 562873"/>
                <a:gd name="connsiteY2" fmla="*/ 663575 h 996950"/>
                <a:gd name="connsiteX3" fmla="*/ 134248 w 562873"/>
                <a:gd name="connsiteY3" fmla="*/ 371475 h 996950"/>
                <a:gd name="connsiteX4" fmla="*/ 134248 w 562873"/>
                <a:gd name="connsiteY4" fmla="*/ 279400 h 996950"/>
                <a:gd name="connsiteX5" fmla="*/ 96148 w 562873"/>
                <a:gd name="connsiteY5" fmla="*/ 431800 h 996950"/>
                <a:gd name="connsiteX6" fmla="*/ 898 w 562873"/>
                <a:gd name="connsiteY6" fmla="*/ 431800 h 996950"/>
                <a:gd name="connsiteX7" fmla="*/ 239023 w 562873"/>
                <a:gd name="connsiteY7" fmla="*/ 0 h 996950"/>
                <a:gd name="connsiteX8" fmla="*/ 270773 w 562873"/>
                <a:gd name="connsiteY8" fmla="*/ 34925 h 996950"/>
                <a:gd name="connsiteX9" fmla="*/ 311255 w 562873"/>
                <a:gd name="connsiteY9" fmla="*/ 3175 h 996950"/>
                <a:gd name="connsiteX10" fmla="*/ 562873 w 562873"/>
                <a:gd name="connsiteY10" fmla="*/ 428625 h 996950"/>
                <a:gd name="connsiteX11" fmla="*/ 464448 w 562873"/>
                <a:gd name="connsiteY11" fmla="*/ 428625 h 996950"/>
                <a:gd name="connsiteX12" fmla="*/ 423173 w 562873"/>
                <a:gd name="connsiteY12" fmla="*/ 247650 h 996950"/>
                <a:gd name="connsiteX13" fmla="*/ 429523 w 562873"/>
                <a:gd name="connsiteY13" fmla="*/ 384175 h 996950"/>
                <a:gd name="connsiteX14" fmla="*/ 477148 w 562873"/>
                <a:gd name="connsiteY14" fmla="*/ 673100 h 996950"/>
                <a:gd name="connsiteX15" fmla="*/ 413648 w 562873"/>
                <a:gd name="connsiteY15" fmla="*/ 673100 h 996950"/>
                <a:gd name="connsiteX16" fmla="*/ 413648 w 562873"/>
                <a:gd name="connsiteY16" fmla="*/ 996950 h 996950"/>
                <a:gd name="connsiteX17" fmla="*/ 286648 w 562873"/>
                <a:gd name="connsiteY17" fmla="*/ 996950 h 996950"/>
                <a:gd name="connsiteX18" fmla="*/ 280298 w 562873"/>
                <a:gd name="connsiteY18" fmla="*/ 669925 h 996950"/>
                <a:gd name="connsiteX19" fmla="*/ 267598 w 562873"/>
                <a:gd name="connsiteY19" fmla="*/ 984250 h 996950"/>
                <a:gd name="connsiteX20" fmla="*/ 137423 w 562873"/>
                <a:gd name="connsiteY20" fmla="*/ 981075 h 996950"/>
                <a:gd name="connsiteX0" fmla="*/ 137423 w 562873"/>
                <a:gd name="connsiteY0" fmla="*/ 981075 h 996950"/>
                <a:gd name="connsiteX1" fmla="*/ 137423 w 562873"/>
                <a:gd name="connsiteY1" fmla="*/ 663575 h 996950"/>
                <a:gd name="connsiteX2" fmla="*/ 80273 w 562873"/>
                <a:gd name="connsiteY2" fmla="*/ 663575 h 996950"/>
                <a:gd name="connsiteX3" fmla="*/ 134248 w 562873"/>
                <a:gd name="connsiteY3" fmla="*/ 371475 h 996950"/>
                <a:gd name="connsiteX4" fmla="*/ 134248 w 562873"/>
                <a:gd name="connsiteY4" fmla="*/ 279400 h 996950"/>
                <a:gd name="connsiteX5" fmla="*/ 96148 w 562873"/>
                <a:gd name="connsiteY5" fmla="*/ 431800 h 996950"/>
                <a:gd name="connsiteX6" fmla="*/ 898 w 562873"/>
                <a:gd name="connsiteY6" fmla="*/ 431800 h 996950"/>
                <a:gd name="connsiteX7" fmla="*/ 239023 w 562873"/>
                <a:gd name="connsiteY7" fmla="*/ 0 h 996950"/>
                <a:gd name="connsiteX8" fmla="*/ 270773 w 562873"/>
                <a:gd name="connsiteY8" fmla="*/ 34925 h 996950"/>
                <a:gd name="connsiteX9" fmla="*/ 311255 w 562873"/>
                <a:gd name="connsiteY9" fmla="*/ 3175 h 996950"/>
                <a:gd name="connsiteX10" fmla="*/ 562873 w 562873"/>
                <a:gd name="connsiteY10" fmla="*/ 428625 h 996950"/>
                <a:gd name="connsiteX11" fmla="*/ 464448 w 562873"/>
                <a:gd name="connsiteY11" fmla="*/ 428625 h 996950"/>
                <a:gd name="connsiteX12" fmla="*/ 423173 w 562873"/>
                <a:gd name="connsiteY12" fmla="*/ 247650 h 996950"/>
                <a:gd name="connsiteX13" fmla="*/ 429523 w 562873"/>
                <a:gd name="connsiteY13" fmla="*/ 384175 h 996950"/>
                <a:gd name="connsiteX14" fmla="*/ 477148 w 562873"/>
                <a:gd name="connsiteY14" fmla="*/ 673100 h 996950"/>
                <a:gd name="connsiteX15" fmla="*/ 413648 w 562873"/>
                <a:gd name="connsiteY15" fmla="*/ 673100 h 996950"/>
                <a:gd name="connsiteX16" fmla="*/ 413648 w 562873"/>
                <a:gd name="connsiteY16" fmla="*/ 996950 h 996950"/>
                <a:gd name="connsiteX17" fmla="*/ 286648 w 562873"/>
                <a:gd name="connsiteY17" fmla="*/ 996950 h 996950"/>
                <a:gd name="connsiteX18" fmla="*/ 280298 w 562873"/>
                <a:gd name="connsiteY18" fmla="*/ 669925 h 996950"/>
                <a:gd name="connsiteX19" fmla="*/ 267598 w 562873"/>
                <a:gd name="connsiteY19" fmla="*/ 984250 h 996950"/>
                <a:gd name="connsiteX20" fmla="*/ 137423 w 562873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9523 w 563209"/>
                <a:gd name="connsiteY13" fmla="*/ 384175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9523 w 563209"/>
                <a:gd name="connsiteY13" fmla="*/ 384175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9523 w 563209"/>
                <a:gd name="connsiteY13" fmla="*/ 384175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9523 w 563209"/>
                <a:gd name="connsiteY13" fmla="*/ 384175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9523 w 563209"/>
                <a:gd name="connsiteY13" fmla="*/ 384175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9523 w 563209"/>
                <a:gd name="connsiteY13" fmla="*/ 384175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9523 w 563209"/>
                <a:gd name="connsiteY13" fmla="*/ 384175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9523 w 563209"/>
                <a:gd name="connsiteY13" fmla="*/ 384175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4760 w 563209"/>
                <a:gd name="connsiteY13" fmla="*/ 369888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1022359"/>
                <a:gd name="connsiteX1" fmla="*/ 137423 w 563209"/>
                <a:gd name="connsiteY1" fmla="*/ 663575 h 1022359"/>
                <a:gd name="connsiteX2" fmla="*/ 80273 w 563209"/>
                <a:gd name="connsiteY2" fmla="*/ 663575 h 1022359"/>
                <a:gd name="connsiteX3" fmla="*/ 134248 w 563209"/>
                <a:gd name="connsiteY3" fmla="*/ 371475 h 1022359"/>
                <a:gd name="connsiteX4" fmla="*/ 134248 w 563209"/>
                <a:gd name="connsiteY4" fmla="*/ 279400 h 1022359"/>
                <a:gd name="connsiteX5" fmla="*/ 96148 w 563209"/>
                <a:gd name="connsiteY5" fmla="*/ 431800 h 1022359"/>
                <a:gd name="connsiteX6" fmla="*/ 898 w 563209"/>
                <a:gd name="connsiteY6" fmla="*/ 431800 h 1022359"/>
                <a:gd name="connsiteX7" fmla="*/ 239023 w 563209"/>
                <a:gd name="connsiteY7" fmla="*/ 0 h 1022359"/>
                <a:gd name="connsiteX8" fmla="*/ 270773 w 563209"/>
                <a:gd name="connsiteY8" fmla="*/ 34925 h 1022359"/>
                <a:gd name="connsiteX9" fmla="*/ 311255 w 563209"/>
                <a:gd name="connsiteY9" fmla="*/ 3175 h 1022359"/>
                <a:gd name="connsiteX10" fmla="*/ 562873 w 563209"/>
                <a:gd name="connsiteY10" fmla="*/ 428625 h 1022359"/>
                <a:gd name="connsiteX11" fmla="*/ 464448 w 563209"/>
                <a:gd name="connsiteY11" fmla="*/ 428625 h 1022359"/>
                <a:gd name="connsiteX12" fmla="*/ 423173 w 563209"/>
                <a:gd name="connsiteY12" fmla="*/ 247650 h 1022359"/>
                <a:gd name="connsiteX13" fmla="*/ 424760 w 563209"/>
                <a:gd name="connsiteY13" fmla="*/ 369888 h 1022359"/>
                <a:gd name="connsiteX14" fmla="*/ 477148 w 563209"/>
                <a:gd name="connsiteY14" fmla="*/ 673100 h 1022359"/>
                <a:gd name="connsiteX15" fmla="*/ 413648 w 563209"/>
                <a:gd name="connsiteY15" fmla="*/ 673100 h 1022359"/>
                <a:gd name="connsiteX16" fmla="*/ 413648 w 563209"/>
                <a:gd name="connsiteY16" fmla="*/ 996950 h 1022359"/>
                <a:gd name="connsiteX17" fmla="*/ 286648 w 563209"/>
                <a:gd name="connsiteY17" fmla="*/ 996950 h 1022359"/>
                <a:gd name="connsiteX18" fmla="*/ 280298 w 563209"/>
                <a:gd name="connsiteY18" fmla="*/ 669925 h 1022359"/>
                <a:gd name="connsiteX19" fmla="*/ 267598 w 563209"/>
                <a:gd name="connsiteY19" fmla="*/ 984250 h 1022359"/>
                <a:gd name="connsiteX20" fmla="*/ 137423 w 563209"/>
                <a:gd name="connsiteY20" fmla="*/ 981075 h 1022359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80273 w 563209"/>
                <a:gd name="connsiteY2" fmla="*/ 663575 h 1042663"/>
                <a:gd name="connsiteX3" fmla="*/ 134248 w 563209"/>
                <a:gd name="connsiteY3" fmla="*/ 371475 h 1042663"/>
                <a:gd name="connsiteX4" fmla="*/ 134248 w 563209"/>
                <a:gd name="connsiteY4" fmla="*/ 279400 h 1042663"/>
                <a:gd name="connsiteX5" fmla="*/ 96148 w 563209"/>
                <a:gd name="connsiteY5" fmla="*/ 431800 h 1042663"/>
                <a:gd name="connsiteX6" fmla="*/ 898 w 563209"/>
                <a:gd name="connsiteY6" fmla="*/ 431800 h 1042663"/>
                <a:gd name="connsiteX7" fmla="*/ 239023 w 563209"/>
                <a:gd name="connsiteY7" fmla="*/ 0 h 1042663"/>
                <a:gd name="connsiteX8" fmla="*/ 270773 w 563209"/>
                <a:gd name="connsiteY8" fmla="*/ 34925 h 1042663"/>
                <a:gd name="connsiteX9" fmla="*/ 311255 w 563209"/>
                <a:gd name="connsiteY9" fmla="*/ 3175 h 1042663"/>
                <a:gd name="connsiteX10" fmla="*/ 562873 w 563209"/>
                <a:gd name="connsiteY10" fmla="*/ 428625 h 1042663"/>
                <a:gd name="connsiteX11" fmla="*/ 464448 w 563209"/>
                <a:gd name="connsiteY11" fmla="*/ 428625 h 1042663"/>
                <a:gd name="connsiteX12" fmla="*/ 423173 w 563209"/>
                <a:gd name="connsiteY12" fmla="*/ 247650 h 1042663"/>
                <a:gd name="connsiteX13" fmla="*/ 424760 w 563209"/>
                <a:gd name="connsiteY13" fmla="*/ 369888 h 1042663"/>
                <a:gd name="connsiteX14" fmla="*/ 477148 w 563209"/>
                <a:gd name="connsiteY14" fmla="*/ 673100 h 1042663"/>
                <a:gd name="connsiteX15" fmla="*/ 413648 w 563209"/>
                <a:gd name="connsiteY15" fmla="*/ 673100 h 1042663"/>
                <a:gd name="connsiteX16" fmla="*/ 413648 w 563209"/>
                <a:gd name="connsiteY16" fmla="*/ 996950 h 1042663"/>
                <a:gd name="connsiteX17" fmla="*/ 286648 w 563209"/>
                <a:gd name="connsiteY17" fmla="*/ 996950 h 1042663"/>
                <a:gd name="connsiteX18" fmla="*/ 280298 w 563209"/>
                <a:gd name="connsiteY18" fmla="*/ 669925 h 1042663"/>
                <a:gd name="connsiteX19" fmla="*/ 267598 w 563209"/>
                <a:gd name="connsiteY19" fmla="*/ 984250 h 1042663"/>
                <a:gd name="connsiteX20" fmla="*/ 137423 w 563209"/>
                <a:gd name="connsiteY20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80273 w 563209"/>
                <a:gd name="connsiteY2" fmla="*/ 663575 h 1042663"/>
                <a:gd name="connsiteX3" fmla="*/ 134248 w 563209"/>
                <a:gd name="connsiteY3" fmla="*/ 371475 h 1042663"/>
                <a:gd name="connsiteX4" fmla="*/ 134248 w 563209"/>
                <a:gd name="connsiteY4" fmla="*/ 279400 h 1042663"/>
                <a:gd name="connsiteX5" fmla="*/ 96148 w 563209"/>
                <a:gd name="connsiteY5" fmla="*/ 431800 h 1042663"/>
                <a:gd name="connsiteX6" fmla="*/ 898 w 563209"/>
                <a:gd name="connsiteY6" fmla="*/ 431800 h 1042663"/>
                <a:gd name="connsiteX7" fmla="*/ 239023 w 563209"/>
                <a:gd name="connsiteY7" fmla="*/ 0 h 1042663"/>
                <a:gd name="connsiteX8" fmla="*/ 270773 w 563209"/>
                <a:gd name="connsiteY8" fmla="*/ 34925 h 1042663"/>
                <a:gd name="connsiteX9" fmla="*/ 311255 w 563209"/>
                <a:gd name="connsiteY9" fmla="*/ 3175 h 1042663"/>
                <a:gd name="connsiteX10" fmla="*/ 562873 w 563209"/>
                <a:gd name="connsiteY10" fmla="*/ 428625 h 1042663"/>
                <a:gd name="connsiteX11" fmla="*/ 464448 w 563209"/>
                <a:gd name="connsiteY11" fmla="*/ 428625 h 1042663"/>
                <a:gd name="connsiteX12" fmla="*/ 423173 w 563209"/>
                <a:gd name="connsiteY12" fmla="*/ 247650 h 1042663"/>
                <a:gd name="connsiteX13" fmla="*/ 424760 w 563209"/>
                <a:gd name="connsiteY13" fmla="*/ 369888 h 1042663"/>
                <a:gd name="connsiteX14" fmla="*/ 477148 w 563209"/>
                <a:gd name="connsiteY14" fmla="*/ 673100 h 1042663"/>
                <a:gd name="connsiteX15" fmla="*/ 413648 w 563209"/>
                <a:gd name="connsiteY15" fmla="*/ 673100 h 1042663"/>
                <a:gd name="connsiteX16" fmla="*/ 413648 w 563209"/>
                <a:gd name="connsiteY16" fmla="*/ 996950 h 1042663"/>
                <a:gd name="connsiteX17" fmla="*/ 286648 w 563209"/>
                <a:gd name="connsiteY17" fmla="*/ 996950 h 1042663"/>
                <a:gd name="connsiteX18" fmla="*/ 280298 w 563209"/>
                <a:gd name="connsiteY18" fmla="*/ 669925 h 1042663"/>
                <a:gd name="connsiteX19" fmla="*/ 267598 w 563209"/>
                <a:gd name="connsiteY19" fmla="*/ 984250 h 1042663"/>
                <a:gd name="connsiteX20" fmla="*/ 137423 w 563209"/>
                <a:gd name="connsiteY20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80273 w 563209"/>
                <a:gd name="connsiteY2" fmla="*/ 663575 h 1042663"/>
                <a:gd name="connsiteX3" fmla="*/ 134248 w 563209"/>
                <a:gd name="connsiteY3" fmla="*/ 371475 h 1042663"/>
                <a:gd name="connsiteX4" fmla="*/ 134248 w 563209"/>
                <a:gd name="connsiteY4" fmla="*/ 279400 h 1042663"/>
                <a:gd name="connsiteX5" fmla="*/ 96148 w 563209"/>
                <a:gd name="connsiteY5" fmla="*/ 431800 h 1042663"/>
                <a:gd name="connsiteX6" fmla="*/ 898 w 563209"/>
                <a:gd name="connsiteY6" fmla="*/ 431800 h 1042663"/>
                <a:gd name="connsiteX7" fmla="*/ 239023 w 563209"/>
                <a:gd name="connsiteY7" fmla="*/ 0 h 1042663"/>
                <a:gd name="connsiteX8" fmla="*/ 270773 w 563209"/>
                <a:gd name="connsiteY8" fmla="*/ 34925 h 1042663"/>
                <a:gd name="connsiteX9" fmla="*/ 311255 w 563209"/>
                <a:gd name="connsiteY9" fmla="*/ 3175 h 1042663"/>
                <a:gd name="connsiteX10" fmla="*/ 562873 w 563209"/>
                <a:gd name="connsiteY10" fmla="*/ 428625 h 1042663"/>
                <a:gd name="connsiteX11" fmla="*/ 464448 w 563209"/>
                <a:gd name="connsiteY11" fmla="*/ 428625 h 1042663"/>
                <a:gd name="connsiteX12" fmla="*/ 423173 w 563209"/>
                <a:gd name="connsiteY12" fmla="*/ 247650 h 1042663"/>
                <a:gd name="connsiteX13" fmla="*/ 424760 w 563209"/>
                <a:gd name="connsiteY13" fmla="*/ 369888 h 1042663"/>
                <a:gd name="connsiteX14" fmla="*/ 477148 w 563209"/>
                <a:gd name="connsiteY14" fmla="*/ 673100 h 1042663"/>
                <a:gd name="connsiteX15" fmla="*/ 413648 w 563209"/>
                <a:gd name="connsiteY15" fmla="*/ 673100 h 1042663"/>
                <a:gd name="connsiteX16" fmla="*/ 413648 w 563209"/>
                <a:gd name="connsiteY16" fmla="*/ 996950 h 1042663"/>
                <a:gd name="connsiteX17" fmla="*/ 286648 w 563209"/>
                <a:gd name="connsiteY17" fmla="*/ 996950 h 1042663"/>
                <a:gd name="connsiteX18" fmla="*/ 280298 w 563209"/>
                <a:gd name="connsiteY18" fmla="*/ 669925 h 1042663"/>
                <a:gd name="connsiteX19" fmla="*/ 267598 w 563209"/>
                <a:gd name="connsiteY19" fmla="*/ 984250 h 1042663"/>
                <a:gd name="connsiteX20" fmla="*/ 137423 w 563209"/>
                <a:gd name="connsiteY20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80273 w 563209"/>
                <a:gd name="connsiteY2" fmla="*/ 663575 h 1042663"/>
                <a:gd name="connsiteX3" fmla="*/ 134248 w 563209"/>
                <a:gd name="connsiteY3" fmla="*/ 371475 h 1042663"/>
                <a:gd name="connsiteX4" fmla="*/ 134248 w 563209"/>
                <a:gd name="connsiteY4" fmla="*/ 279400 h 1042663"/>
                <a:gd name="connsiteX5" fmla="*/ 96148 w 563209"/>
                <a:gd name="connsiteY5" fmla="*/ 431800 h 1042663"/>
                <a:gd name="connsiteX6" fmla="*/ 898 w 563209"/>
                <a:gd name="connsiteY6" fmla="*/ 431800 h 1042663"/>
                <a:gd name="connsiteX7" fmla="*/ 239023 w 563209"/>
                <a:gd name="connsiteY7" fmla="*/ 0 h 1042663"/>
                <a:gd name="connsiteX8" fmla="*/ 270773 w 563209"/>
                <a:gd name="connsiteY8" fmla="*/ 34925 h 1042663"/>
                <a:gd name="connsiteX9" fmla="*/ 311255 w 563209"/>
                <a:gd name="connsiteY9" fmla="*/ 3175 h 1042663"/>
                <a:gd name="connsiteX10" fmla="*/ 562873 w 563209"/>
                <a:gd name="connsiteY10" fmla="*/ 428625 h 1042663"/>
                <a:gd name="connsiteX11" fmla="*/ 464448 w 563209"/>
                <a:gd name="connsiteY11" fmla="*/ 428625 h 1042663"/>
                <a:gd name="connsiteX12" fmla="*/ 423173 w 563209"/>
                <a:gd name="connsiteY12" fmla="*/ 247650 h 1042663"/>
                <a:gd name="connsiteX13" fmla="*/ 424760 w 563209"/>
                <a:gd name="connsiteY13" fmla="*/ 369888 h 1042663"/>
                <a:gd name="connsiteX14" fmla="*/ 477148 w 563209"/>
                <a:gd name="connsiteY14" fmla="*/ 673100 h 1042663"/>
                <a:gd name="connsiteX15" fmla="*/ 413648 w 563209"/>
                <a:gd name="connsiteY15" fmla="*/ 673100 h 1042663"/>
                <a:gd name="connsiteX16" fmla="*/ 413648 w 563209"/>
                <a:gd name="connsiteY16" fmla="*/ 996950 h 1042663"/>
                <a:gd name="connsiteX17" fmla="*/ 286648 w 563209"/>
                <a:gd name="connsiteY17" fmla="*/ 996950 h 1042663"/>
                <a:gd name="connsiteX18" fmla="*/ 280298 w 563209"/>
                <a:gd name="connsiteY18" fmla="*/ 669925 h 1042663"/>
                <a:gd name="connsiteX19" fmla="*/ 267598 w 563209"/>
                <a:gd name="connsiteY19" fmla="*/ 984250 h 1042663"/>
                <a:gd name="connsiteX20" fmla="*/ 137423 w 563209"/>
                <a:gd name="connsiteY20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80273 w 563209"/>
                <a:gd name="connsiteY2" fmla="*/ 663575 h 1042663"/>
                <a:gd name="connsiteX3" fmla="*/ 134248 w 563209"/>
                <a:gd name="connsiteY3" fmla="*/ 371475 h 1042663"/>
                <a:gd name="connsiteX4" fmla="*/ 134248 w 563209"/>
                <a:gd name="connsiteY4" fmla="*/ 279400 h 1042663"/>
                <a:gd name="connsiteX5" fmla="*/ 96148 w 563209"/>
                <a:gd name="connsiteY5" fmla="*/ 431800 h 1042663"/>
                <a:gd name="connsiteX6" fmla="*/ 898 w 563209"/>
                <a:gd name="connsiteY6" fmla="*/ 431800 h 1042663"/>
                <a:gd name="connsiteX7" fmla="*/ 239023 w 563209"/>
                <a:gd name="connsiteY7" fmla="*/ 0 h 1042663"/>
                <a:gd name="connsiteX8" fmla="*/ 270773 w 563209"/>
                <a:gd name="connsiteY8" fmla="*/ 34925 h 1042663"/>
                <a:gd name="connsiteX9" fmla="*/ 311255 w 563209"/>
                <a:gd name="connsiteY9" fmla="*/ 3175 h 1042663"/>
                <a:gd name="connsiteX10" fmla="*/ 562873 w 563209"/>
                <a:gd name="connsiteY10" fmla="*/ 428625 h 1042663"/>
                <a:gd name="connsiteX11" fmla="*/ 464448 w 563209"/>
                <a:gd name="connsiteY11" fmla="*/ 428625 h 1042663"/>
                <a:gd name="connsiteX12" fmla="*/ 423173 w 563209"/>
                <a:gd name="connsiteY12" fmla="*/ 247650 h 1042663"/>
                <a:gd name="connsiteX13" fmla="*/ 424760 w 563209"/>
                <a:gd name="connsiteY13" fmla="*/ 369888 h 1042663"/>
                <a:gd name="connsiteX14" fmla="*/ 477148 w 563209"/>
                <a:gd name="connsiteY14" fmla="*/ 673100 h 1042663"/>
                <a:gd name="connsiteX15" fmla="*/ 413648 w 563209"/>
                <a:gd name="connsiteY15" fmla="*/ 673100 h 1042663"/>
                <a:gd name="connsiteX16" fmla="*/ 413648 w 563209"/>
                <a:gd name="connsiteY16" fmla="*/ 996950 h 1042663"/>
                <a:gd name="connsiteX17" fmla="*/ 286648 w 563209"/>
                <a:gd name="connsiteY17" fmla="*/ 996950 h 1042663"/>
                <a:gd name="connsiteX18" fmla="*/ 280298 w 563209"/>
                <a:gd name="connsiteY18" fmla="*/ 669925 h 1042663"/>
                <a:gd name="connsiteX19" fmla="*/ 267598 w 563209"/>
                <a:gd name="connsiteY19" fmla="*/ 984250 h 1042663"/>
                <a:gd name="connsiteX20" fmla="*/ 137423 w 563209"/>
                <a:gd name="connsiteY20" fmla="*/ 981075 h 1042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63209" h="1042663">
                  <a:moveTo>
                    <a:pt x="137423" y="981075"/>
                  </a:moveTo>
                  <a:lnTo>
                    <a:pt x="137423" y="663575"/>
                  </a:lnTo>
                  <a:lnTo>
                    <a:pt x="80273" y="663575"/>
                  </a:lnTo>
                  <a:cubicBezTo>
                    <a:pt x="88740" y="592401"/>
                    <a:pt x="101969" y="483130"/>
                    <a:pt x="134248" y="371475"/>
                  </a:cubicBezTo>
                  <a:lnTo>
                    <a:pt x="134248" y="279400"/>
                  </a:lnTo>
                  <a:cubicBezTo>
                    <a:pt x="112023" y="258762"/>
                    <a:pt x="108848" y="381000"/>
                    <a:pt x="96148" y="431800"/>
                  </a:cubicBezTo>
                  <a:cubicBezTo>
                    <a:pt x="73923" y="477043"/>
                    <a:pt x="27886" y="481806"/>
                    <a:pt x="898" y="431800"/>
                  </a:cubicBezTo>
                  <a:cubicBezTo>
                    <a:pt x="-12596" y="194998"/>
                    <a:pt x="128692" y="32014"/>
                    <a:pt x="239023" y="0"/>
                  </a:cubicBezTo>
                  <a:lnTo>
                    <a:pt x="270773" y="34925"/>
                  </a:lnTo>
                  <a:lnTo>
                    <a:pt x="311255" y="3175"/>
                  </a:lnTo>
                  <a:cubicBezTo>
                    <a:pt x="478472" y="28311"/>
                    <a:pt x="569488" y="270139"/>
                    <a:pt x="562873" y="428625"/>
                  </a:cubicBezTo>
                  <a:cubicBezTo>
                    <a:pt x="544353" y="497681"/>
                    <a:pt x="475825" y="492919"/>
                    <a:pt x="464448" y="428625"/>
                  </a:cubicBezTo>
                  <a:cubicBezTo>
                    <a:pt x="457834" y="358775"/>
                    <a:pt x="448838" y="279400"/>
                    <a:pt x="423173" y="247650"/>
                  </a:cubicBezTo>
                  <a:lnTo>
                    <a:pt x="424760" y="369888"/>
                  </a:lnTo>
                  <a:cubicBezTo>
                    <a:pt x="450160" y="485246"/>
                    <a:pt x="468417" y="600605"/>
                    <a:pt x="477148" y="673100"/>
                  </a:cubicBezTo>
                  <a:lnTo>
                    <a:pt x="413648" y="673100"/>
                  </a:lnTo>
                  <a:lnTo>
                    <a:pt x="413648" y="996950"/>
                  </a:lnTo>
                  <a:cubicBezTo>
                    <a:pt x="380840" y="1051719"/>
                    <a:pt x="312312" y="1054100"/>
                    <a:pt x="286648" y="996950"/>
                  </a:cubicBezTo>
                  <a:cubicBezTo>
                    <a:pt x="284531" y="887942"/>
                    <a:pt x="282415" y="659870"/>
                    <a:pt x="280298" y="669925"/>
                  </a:cubicBezTo>
                  <a:cubicBezTo>
                    <a:pt x="257015" y="650875"/>
                    <a:pt x="271831" y="879475"/>
                    <a:pt x="267598" y="984250"/>
                  </a:cubicBezTo>
                  <a:cubicBezTo>
                    <a:pt x="252781" y="1052248"/>
                    <a:pt x="164147" y="1072620"/>
                    <a:pt x="137423" y="981075"/>
                  </a:cubicBezTo>
                  <a:close/>
                </a:path>
              </a:pathLst>
            </a:custGeom>
            <a:solidFill>
              <a:srgbClr val="7C2529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>
                <a:defRPr/>
              </a:pPr>
              <a:endParaRPr lang="en-US" kern="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03" name="Group 102"/>
          <p:cNvGrpSpPr>
            <a:grpSpLocks/>
          </p:cNvGrpSpPr>
          <p:nvPr/>
        </p:nvGrpSpPr>
        <p:grpSpPr>
          <a:xfrm>
            <a:off x="748886" y="1190136"/>
            <a:ext cx="150444" cy="353870"/>
            <a:chOff x="8102504" y="1653116"/>
            <a:chExt cx="192709" cy="453284"/>
          </a:xfrm>
        </p:grpSpPr>
        <p:sp>
          <p:nvSpPr>
            <p:cNvPr id="104" name="Oval 103"/>
            <p:cNvSpPr/>
            <p:nvPr/>
          </p:nvSpPr>
          <p:spPr>
            <a:xfrm>
              <a:off x="8146168" y="1653116"/>
              <a:ext cx="100493" cy="100493"/>
            </a:xfrm>
            <a:prstGeom prst="ellipse">
              <a:avLst/>
            </a:prstGeom>
            <a:solidFill>
              <a:srgbClr val="7C2529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kern="0" dirty="0" smtClean="0">
                <a:solidFill>
                  <a:prstClr val="black"/>
                </a:solidFill>
              </a:endParaRPr>
            </a:p>
          </p:txBody>
        </p:sp>
        <p:sp>
          <p:nvSpPr>
            <p:cNvPr id="105" name="Freeform 104"/>
            <p:cNvSpPr/>
            <p:nvPr/>
          </p:nvSpPr>
          <p:spPr>
            <a:xfrm>
              <a:off x="8102504" y="1755779"/>
              <a:ext cx="192709" cy="350621"/>
            </a:xfrm>
            <a:custGeom>
              <a:avLst/>
              <a:gdLst>
                <a:gd name="connsiteX0" fmla="*/ 136525 w 561975"/>
                <a:gd name="connsiteY0" fmla="*/ 987425 h 1003300"/>
                <a:gd name="connsiteX1" fmla="*/ 136525 w 561975"/>
                <a:gd name="connsiteY1" fmla="*/ 669925 h 1003300"/>
                <a:gd name="connsiteX2" fmla="*/ 79375 w 561975"/>
                <a:gd name="connsiteY2" fmla="*/ 669925 h 1003300"/>
                <a:gd name="connsiteX3" fmla="*/ 133350 w 561975"/>
                <a:gd name="connsiteY3" fmla="*/ 377825 h 1003300"/>
                <a:gd name="connsiteX4" fmla="*/ 133350 w 561975"/>
                <a:gd name="connsiteY4" fmla="*/ 285750 h 1003300"/>
                <a:gd name="connsiteX5" fmla="*/ 95250 w 561975"/>
                <a:gd name="connsiteY5" fmla="*/ 438150 h 1003300"/>
                <a:gd name="connsiteX6" fmla="*/ 0 w 561975"/>
                <a:gd name="connsiteY6" fmla="*/ 438150 h 1003300"/>
                <a:gd name="connsiteX7" fmla="*/ 238125 w 561975"/>
                <a:gd name="connsiteY7" fmla="*/ 6350 h 1003300"/>
                <a:gd name="connsiteX8" fmla="*/ 269875 w 561975"/>
                <a:gd name="connsiteY8" fmla="*/ 41275 h 1003300"/>
                <a:gd name="connsiteX9" fmla="*/ 307975 w 561975"/>
                <a:gd name="connsiteY9" fmla="*/ 0 h 1003300"/>
                <a:gd name="connsiteX10" fmla="*/ 561975 w 561975"/>
                <a:gd name="connsiteY10" fmla="*/ 434975 h 1003300"/>
                <a:gd name="connsiteX11" fmla="*/ 463550 w 561975"/>
                <a:gd name="connsiteY11" fmla="*/ 434975 h 1003300"/>
                <a:gd name="connsiteX12" fmla="*/ 422275 w 561975"/>
                <a:gd name="connsiteY12" fmla="*/ 254000 h 1003300"/>
                <a:gd name="connsiteX13" fmla="*/ 428625 w 561975"/>
                <a:gd name="connsiteY13" fmla="*/ 390525 h 1003300"/>
                <a:gd name="connsiteX14" fmla="*/ 476250 w 561975"/>
                <a:gd name="connsiteY14" fmla="*/ 679450 h 1003300"/>
                <a:gd name="connsiteX15" fmla="*/ 412750 w 561975"/>
                <a:gd name="connsiteY15" fmla="*/ 679450 h 1003300"/>
                <a:gd name="connsiteX16" fmla="*/ 412750 w 561975"/>
                <a:gd name="connsiteY16" fmla="*/ 1003300 h 1003300"/>
                <a:gd name="connsiteX17" fmla="*/ 285750 w 561975"/>
                <a:gd name="connsiteY17" fmla="*/ 1003300 h 1003300"/>
                <a:gd name="connsiteX18" fmla="*/ 279400 w 561975"/>
                <a:gd name="connsiteY18" fmla="*/ 676275 h 1003300"/>
                <a:gd name="connsiteX19" fmla="*/ 266700 w 561975"/>
                <a:gd name="connsiteY19" fmla="*/ 990600 h 1003300"/>
                <a:gd name="connsiteX20" fmla="*/ 136525 w 561975"/>
                <a:gd name="connsiteY20" fmla="*/ 987425 h 1003300"/>
                <a:gd name="connsiteX0" fmla="*/ 136525 w 561975"/>
                <a:gd name="connsiteY0" fmla="*/ 987425 h 1003300"/>
                <a:gd name="connsiteX1" fmla="*/ 136525 w 561975"/>
                <a:gd name="connsiteY1" fmla="*/ 669925 h 1003300"/>
                <a:gd name="connsiteX2" fmla="*/ 79375 w 561975"/>
                <a:gd name="connsiteY2" fmla="*/ 669925 h 1003300"/>
                <a:gd name="connsiteX3" fmla="*/ 133350 w 561975"/>
                <a:gd name="connsiteY3" fmla="*/ 377825 h 1003300"/>
                <a:gd name="connsiteX4" fmla="*/ 133350 w 561975"/>
                <a:gd name="connsiteY4" fmla="*/ 285750 h 1003300"/>
                <a:gd name="connsiteX5" fmla="*/ 95250 w 561975"/>
                <a:gd name="connsiteY5" fmla="*/ 438150 h 1003300"/>
                <a:gd name="connsiteX6" fmla="*/ 0 w 561975"/>
                <a:gd name="connsiteY6" fmla="*/ 438150 h 1003300"/>
                <a:gd name="connsiteX7" fmla="*/ 238125 w 561975"/>
                <a:gd name="connsiteY7" fmla="*/ 6350 h 1003300"/>
                <a:gd name="connsiteX8" fmla="*/ 269875 w 561975"/>
                <a:gd name="connsiteY8" fmla="*/ 41275 h 1003300"/>
                <a:gd name="connsiteX9" fmla="*/ 307975 w 561975"/>
                <a:gd name="connsiteY9" fmla="*/ 0 h 1003300"/>
                <a:gd name="connsiteX10" fmla="*/ 561975 w 561975"/>
                <a:gd name="connsiteY10" fmla="*/ 434975 h 1003300"/>
                <a:gd name="connsiteX11" fmla="*/ 463550 w 561975"/>
                <a:gd name="connsiteY11" fmla="*/ 434975 h 1003300"/>
                <a:gd name="connsiteX12" fmla="*/ 422275 w 561975"/>
                <a:gd name="connsiteY12" fmla="*/ 254000 h 1003300"/>
                <a:gd name="connsiteX13" fmla="*/ 428625 w 561975"/>
                <a:gd name="connsiteY13" fmla="*/ 390525 h 1003300"/>
                <a:gd name="connsiteX14" fmla="*/ 476250 w 561975"/>
                <a:gd name="connsiteY14" fmla="*/ 679450 h 1003300"/>
                <a:gd name="connsiteX15" fmla="*/ 412750 w 561975"/>
                <a:gd name="connsiteY15" fmla="*/ 679450 h 1003300"/>
                <a:gd name="connsiteX16" fmla="*/ 412750 w 561975"/>
                <a:gd name="connsiteY16" fmla="*/ 1003300 h 1003300"/>
                <a:gd name="connsiteX17" fmla="*/ 285750 w 561975"/>
                <a:gd name="connsiteY17" fmla="*/ 1003300 h 1003300"/>
                <a:gd name="connsiteX18" fmla="*/ 279400 w 561975"/>
                <a:gd name="connsiteY18" fmla="*/ 676275 h 1003300"/>
                <a:gd name="connsiteX19" fmla="*/ 266700 w 561975"/>
                <a:gd name="connsiteY19" fmla="*/ 990600 h 1003300"/>
                <a:gd name="connsiteX20" fmla="*/ 136525 w 561975"/>
                <a:gd name="connsiteY20" fmla="*/ 987425 h 1003300"/>
                <a:gd name="connsiteX0" fmla="*/ 136525 w 561975"/>
                <a:gd name="connsiteY0" fmla="*/ 987425 h 1003300"/>
                <a:gd name="connsiteX1" fmla="*/ 136525 w 561975"/>
                <a:gd name="connsiteY1" fmla="*/ 669925 h 1003300"/>
                <a:gd name="connsiteX2" fmla="*/ 79375 w 561975"/>
                <a:gd name="connsiteY2" fmla="*/ 669925 h 1003300"/>
                <a:gd name="connsiteX3" fmla="*/ 133350 w 561975"/>
                <a:gd name="connsiteY3" fmla="*/ 377825 h 1003300"/>
                <a:gd name="connsiteX4" fmla="*/ 133350 w 561975"/>
                <a:gd name="connsiteY4" fmla="*/ 285750 h 1003300"/>
                <a:gd name="connsiteX5" fmla="*/ 95250 w 561975"/>
                <a:gd name="connsiteY5" fmla="*/ 438150 h 1003300"/>
                <a:gd name="connsiteX6" fmla="*/ 0 w 561975"/>
                <a:gd name="connsiteY6" fmla="*/ 438150 h 1003300"/>
                <a:gd name="connsiteX7" fmla="*/ 238125 w 561975"/>
                <a:gd name="connsiteY7" fmla="*/ 6350 h 1003300"/>
                <a:gd name="connsiteX8" fmla="*/ 269875 w 561975"/>
                <a:gd name="connsiteY8" fmla="*/ 41275 h 1003300"/>
                <a:gd name="connsiteX9" fmla="*/ 307975 w 561975"/>
                <a:gd name="connsiteY9" fmla="*/ 0 h 1003300"/>
                <a:gd name="connsiteX10" fmla="*/ 561975 w 561975"/>
                <a:gd name="connsiteY10" fmla="*/ 434975 h 1003300"/>
                <a:gd name="connsiteX11" fmla="*/ 463550 w 561975"/>
                <a:gd name="connsiteY11" fmla="*/ 434975 h 1003300"/>
                <a:gd name="connsiteX12" fmla="*/ 422275 w 561975"/>
                <a:gd name="connsiteY12" fmla="*/ 254000 h 1003300"/>
                <a:gd name="connsiteX13" fmla="*/ 428625 w 561975"/>
                <a:gd name="connsiteY13" fmla="*/ 390525 h 1003300"/>
                <a:gd name="connsiteX14" fmla="*/ 476250 w 561975"/>
                <a:gd name="connsiteY14" fmla="*/ 679450 h 1003300"/>
                <a:gd name="connsiteX15" fmla="*/ 412750 w 561975"/>
                <a:gd name="connsiteY15" fmla="*/ 679450 h 1003300"/>
                <a:gd name="connsiteX16" fmla="*/ 412750 w 561975"/>
                <a:gd name="connsiteY16" fmla="*/ 1003300 h 1003300"/>
                <a:gd name="connsiteX17" fmla="*/ 285750 w 561975"/>
                <a:gd name="connsiteY17" fmla="*/ 1003300 h 1003300"/>
                <a:gd name="connsiteX18" fmla="*/ 279400 w 561975"/>
                <a:gd name="connsiteY18" fmla="*/ 676275 h 1003300"/>
                <a:gd name="connsiteX19" fmla="*/ 266700 w 561975"/>
                <a:gd name="connsiteY19" fmla="*/ 990600 h 1003300"/>
                <a:gd name="connsiteX20" fmla="*/ 136525 w 561975"/>
                <a:gd name="connsiteY20" fmla="*/ 987425 h 1003300"/>
                <a:gd name="connsiteX0" fmla="*/ 136525 w 561975"/>
                <a:gd name="connsiteY0" fmla="*/ 987425 h 1003300"/>
                <a:gd name="connsiteX1" fmla="*/ 136525 w 561975"/>
                <a:gd name="connsiteY1" fmla="*/ 669925 h 1003300"/>
                <a:gd name="connsiteX2" fmla="*/ 79375 w 561975"/>
                <a:gd name="connsiteY2" fmla="*/ 669925 h 1003300"/>
                <a:gd name="connsiteX3" fmla="*/ 133350 w 561975"/>
                <a:gd name="connsiteY3" fmla="*/ 377825 h 1003300"/>
                <a:gd name="connsiteX4" fmla="*/ 133350 w 561975"/>
                <a:gd name="connsiteY4" fmla="*/ 285750 h 1003300"/>
                <a:gd name="connsiteX5" fmla="*/ 95250 w 561975"/>
                <a:gd name="connsiteY5" fmla="*/ 438150 h 1003300"/>
                <a:gd name="connsiteX6" fmla="*/ 0 w 561975"/>
                <a:gd name="connsiteY6" fmla="*/ 438150 h 1003300"/>
                <a:gd name="connsiteX7" fmla="*/ 238125 w 561975"/>
                <a:gd name="connsiteY7" fmla="*/ 6350 h 1003300"/>
                <a:gd name="connsiteX8" fmla="*/ 269875 w 561975"/>
                <a:gd name="connsiteY8" fmla="*/ 41275 h 1003300"/>
                <a:gd name="connsiteX9" fmla="*/ 307975 w 561975"/>
                <a:gd name="connsiteY9" fmla="*/ 0 h 1003300"/>
                <a:gd name="connsiteX10" fmla="*/ 561975 w 561975"/>
                <a:gd name="connsiteY10" fmla="*/ 434975 h 1003300"/>
                <a:gd name="connsiteX11" fmla="*/ 463550 w 561975"/>
                <a:gd name="connsiteY11" fmla="*/ 434975 h 1003300"/>
                <a:gd name="connsiteX12" fmla="*/ 422275 w 561975"/>
                <a:gd name="connsiteY12" fmla="*/ 254000 h 1003300"/>
                <a:gd name="connsiteX13" fmla="*/ 428625 w 561975"/>
                <a:gd name="connsiteY13" fmla="*/ 390525 h 1003300"/>
                <a:gd name="connsiteX14" fmla="*/ 476250 w 561975"/>
                <a:gd name="connsiteY14" fmla="*/ 679450 h 1003300"/>
                <a:gd name="connsiteX15" fmla="*/ 412750 w 561975"/>
                <a:gd name="connsiteY15" fmla="*/ 679450 h 1003300"/>
                <a:gd name="connsiteX16" fmla="*/ 412750 w 561975"/>
                <a:gd name="connsiteY16" fmla="*/ 1003300 h 1003300"/>
                <a:gd name="connsiteX17" fmla="*/ 285750 w 561975"/>
                <a:gd name="connsiteY17" fmla="*/ 1003300 h 1003300"/>
                <a:gd name="connsiteX18" fmla="*/ 279400 w 561975"/>
                <a:gd name="connsiteY18" fmla="*/ 676275 h 1003300"/>
                <a:gd name="connsiteX19" fmla="*/ 266700 w 561975"/>
                <a:gd name="connsiteY19" fmla="*/ 990600 h 1003300"/>
                <a:gd name="connsiteX20" fmla="*/ 136525 w 561975"/>
                <a:gd name="connsiteY20" fmla="*/ 987425 h 1003300"/>
                <a:gd name="connsiteX0" fmla="*/ 136525 w 561975"/>
                <a:gd name="connsiteY0" fmla="*/ 987425 h 1003300"/>
                <a:gd name="connsiteX1" fmla="*/ 136525 w 561975"/>
                <a:gd name="connsiteY1" fmla="*/ 669925 h 1003300"/>
                <a:gd name="connsiteX2" fmla="*/ 79375 w 561975"/>
                <a:gd name="connsiteY2" fmla="*/ 669925 h 1003300"/>
                <a:gd name="connsiteX3" fmla="*/ 133350 w 561975"/>
                <a:gd name="connsiteY3" fmla="*/ 377825 h 1003300"/>
                <a:gd name="connsiteX4" fmla="*/ 133350 w 561975"/>
                <a:gd name="connsiteY4" fmla="*/ 285750 h 1003300"/>
                <a:gd name="connsiteX5" fmla="*/ 95250 w 561975"/>
                <a:gd name="connsiteY5" fmla="*/ 438150 h 1003300"/>
                <a:gd name="connsiteX6" fmla="*/ 0 w 561975"/>
                <a:gd name="connsiteY6" fmla="*/ 438150 h 1003300"/>
                <a:gd name="connsiteX7" fmla="*/ 238125 w 561975"/>
                <a:gd name="connsiteY7" fmla="*/ 6350 h 1003300"/>
                <a:gd name="connsiteX8" fmla="*/ 269875 w 561975"/>
                <a:gd name="connsiteY8" fmla="*/ 41275 h 1003300"/>
                <a:gd name="connsiteX9" fmla="*/ 307975 w 561975"/>
                <a:gd name="connsiteY9" fmla="*/ 0 h 1003300"/>
                <a:gd name="connsiteX10" fmla="*/ 561975 w 561975"/>
                <a:gd name="connsiteY10" fmla="*/ 434975 h 1003300"/>
                <a:gd name="connsiteX11" fmla="*/ 463550 w 561975"/>
                <a:gd name="connsiteY11" fmla="*/ 434975 h 1003300"/>
                <a:gd name="connsiteX12" fmla="*/ 422275 w 561975"/>
                <a:gd name="connsiteY12" fmla="*/ 254000 h 1003300"/>
                <a:gd name="connsiteX13" fmla="*/ 428625 w 561975"/>
                <a:gd name="connsiteY13" fmla="*/ 390525 h 1003300"/>
                <a:gd name="connsiteX14" fmla="*/ 476250 w 561975"/>
                <a:gd name="connsiteY14" fmla="*/ 679450 h 1003300"/>
                <a:gd name="connsiteX15" fmla="*/ 412750 w 561975"/>
                <a:gd name="connsiteY15" fmla="*/ 679450 h 1003300"/>
                <a:gd name="connsiteX16" fmla="*/ 412750 w 561975"/>
                <a:gd name="connsiteY16" fmla="*/ 1003300 h 1003300"/>
                <a:gd name="connsiteX17" fmla="*/ 285750 w 561975"/>
                <a:gd name="connsiteY17" fmla="*/ 1003300 h 1003300"/>
                <a:gd name="connsiteX18" fmla="*/ 279400 w 561975"/>
                <a:gd name="connsiteY18" fmla="*/ 676275 h 1003300"/>
                <a:gd name="connsiteX19" fmla="*/ 266700 w 561975"/>
                <a:gd name="connsiteY19" fmla="*/ 990600 h 1003300"/>
                <a:gd name="connsiteX20" fmla="*/ 136525 w 561975"/>
                <a:gd name="connsiteY20" fmla="*/ 987425 h 1003300"/>
                <a:gd name="connsiteX0" fmla="*/ 136525 w 561975"/>
                <a:gd name="connsiteY0" fmla="*/ 987425 h 1003300"/>
                <a:gd name="connsiteX1" fmla="*/ 136525 w 561975"/>
                <a:gd name="connsiteY1" fmla="*/ 669925 h 1003300"/>
                <a:gd name="connsiteX2" fmla="*/ 79375 w 561975"/>
                <a:gd name="connsiteY2" fmla="*/ 669925 h 1003300"/>
                <a:gd name="connsiteX3" fmla="*/ 133350 w 561975"/>
                <a:gd name="connsiteY3" fmla="*/ 377825 h 1003300"/>
                <a:gd name="connsiteX4" fmla="*/ 133350 w 561975"/>
                <a:gd name="connsiteY4" fmla="*/ 285750 h 1003300"/>
                <a:gd name="connsiteX5" fmla="*/ 95250 w 561975"/>
                <a:gd name="connsiteY5" fmla="*/ 438150 h 1003300"/>
                <a:gd name="connsiteX6" fmla="*/ 0 w 561975"/>
                <a:gd name="connsiteY6" fmla="*/ 438150 h 1003300"/>
                <a:gd name="connsiteX7" fmla="*/ 238125 w 561975"/>
                <a:gd name="connsiteY7" fmla="*/ 6350 h 1003300"/>
                <a:gd name="connsiteX8" fmla="*/ 269875 w 561975"/>
                <a:gd name="connsiteY8" fmla="*/ 41275 h 1003300"/>
                <a:gd name="connsiteX9" fmla="*/ 307975 w 561975"/>
                <a:gd name="connsiteY9" fmla="*/ 0 h 1003300"/>
                <a:gd name="connsiteX10" fmla="*/ 561975 w 561975"/>
                <a:gd name="connsiteY10" fmla="*/ 434975 h 1003300"/>
                <a:gd name="connsiteX11" fmla="*/ 463550 w 561975"/>
                <a:gd name="connsiteY11" fmla="*/ 434975 h 1003300"/>
                <a:gd name="connsiteX12" fmla="*/ 422275 w 561975"/>
                <a:gd name="connsiteY12" fmla="*/ 254000 h 1003300"/>
                <a:gd name="connsiteX13" fmla="*/ 428625 w 561975"/>
                <a:gd name="connsiteY13" fmla="*/ 390525 h 1003300"/>
                <a:gd name="connsiteX14" fmla="*/ 476250 w 561975"/>
                <a:gd name="connsiteY14" fmla="*/ 679450 h 1003300"/>
                <a:gd name="connsiteX15" fmla="*/ 412750 w 561975"/>
                <a:gd name="connsiteY15" fmla="*/ 679450 h 1003300"/>
                <a:gd name="connsiteX16" fmla="*/ 412750 w 561975"/>
                <a:gd name="connsiteY16" fmla="*/ 1003300 h 1003300"/>
                <a:gd name="connsiteX17" fmla="*/ 285750 w 561975"/>
                <a:gd name="connsiteY17" fmla="*/ 1003300 h 1003300"/>
                <a:gd name="connsiteX18" fmla="*/ 279400 w 561975"/>
                <a:gd name="connsiteY18" fmla="*/ 676275 h 1003300"/>
                <a:gd name="connsiteX19" fmla="*/ 266700 w 561975"/>
                <a:gd name="connsiteY19" fmla="*/ 990600 h 1003300"/>
                <a:gd name="connsiteX20" fmla="*/ 136525 w 561975"/>
                <a:gd name="connsiteY20" fmla="*/ 987425 h 1003300"/>
                <a:gd name="connsiteX0" fmla="*/ 137274 w 562724"/>
                <a:gd name="connsiteY0" fmla="*/ 987425 h 1003300"/>
                <a:gd name="connsiteX1" fmla="*/ 137274 w 562724"/>
                <a:gd name="connsiteY1" fmla="*/ 669925 h 1003300"/>
                <a:gd name="connsiteX2" fmla="*/ 80124 w 562724"/>
                <a:gd name="connsiteY2" fmla="*/ 669925 h 1003300"/>
                <a:gd name="connsiteX3" fmla="*/ 134099 w 562724"/>
                <a:gd name="connsiteY3" fmla="*/ 377825 h 1003300"/>
                <a:gd name="connsiteX4" fmla="*/ 134099 w 562724"/>
                <a:gd name="connsiteY4" fmla="*/ 285750 h 1003300"/>
                <a:gd name="connsiteX5" fmla="*/ 95999 w 562724"/>
                <a:gd name="connsiteY5" fmla="*/ 438150 h 1003300"/>
                <a:gd name="connsiteX6" fmla="*/ 749 w 562724"/>
                <a:gd name="connsiteY6" fmla="*/ 438150 h 1003300"/>
                <a:gd name="connsiteX7" fmla="*/ 238874 w 562724"/>
                <a:gd name="connsiteY7" fmla="*/ 6350 h 1003300"/>
                <a:gd name="connsiteX8" fmla="*/ 270624 w 562724"/>
                <a:gd name="connsiteY8" fmla="*/ 41275 h 1003300"/>
                <a:gd name="connsiteX9" fmla="*/ 308724 w 562724"/>
                <a:gd name="connsiteY9" fmla="*/ 0 h 1003300"/>
                <a:gd name="connsiteX10" fmla="*/ 562724 w 562724"/>
                <a:gd name="connsiteY10" fmla="*/ 434975 h 1003300"/>
                <a:gd name="connsiteX11" fmla="*/ 464299 w 562724"/>
                <a:gd name="connsiteY11" fmla="*/ 434975 h 1003300"/>
                <a:gd name="connsiteX12" fmla="*/ 423024 w 562724"/>
                <a:gd name="connsiteY12" fmla="*/ 254000 h 1003300"/>
                <a:gd name="connsiteX13" fmla="*/ 429374 w 562724"/>
                <a:gd name="connsiteY13" fmla="*/ 390525 h 1003300"/>
                <a:gd name="connsiteX14" fmla="*/ 476999 w 562724"/>
                <a:gd name="connsiteY14" fmla="*/ 679450 h 1003300"/>
                <a:gd name="connsiteX15" fmla="*/ 413499 w 562724"/>
                <a:gd name="connsiteY15" fmla="*/ 679450 h 1003300"/>
                <a:gd name="connsiteX16" fmla="*/ 413499 w 562724"/>
                <a:gd name="connsiteY16" fmla="*/ 1003300 h 1003300"/>
                <a:gd name="connsiteX17" fmla="*/ 286499 w 562724"/>
                <a:gd name="connsiteY17" fmla="*/ 1003300 h 1003300"/>
                <a:gd name="connsiteX18" fmla="*/ 280149 w 562724"/>
                <a:gd name="connsiteY18" fmla="*/ 676275 h 1003300"/>
                <a:gd name="connsiteX19" fmla="*/ 267449 w 562724"/>
                <a:gd name="connsiteY19" fmla="*/ 990600 h 1003300"/>
                <a:gd name="connsiteX20" fmla="*/ 137274 w 562724"/>
                <a:gd name="connsiteY20" fmla="*/ 987425 h 1003300"/>
                <a:gd name="connsiteX0" fmla="*/ 137423 w 562873"/>
                <a:gd name="connsiteY0" fmla="*/ 987425 h 1003300"/>
                <a:gd name="connsiteX1" fmla="*/ 137423 w 562873"/>
                <a:gd name="connsiteY1" fmla="*/ 669925 h 1003300"/>
                <a:gd name="connsiteX2" fmla="*/ 80273 w 562873"/>
                <a:gd name="connsiteY2" fmla="*/ 669925 h 1003300"/>
                <a:gd name="connsiteX3" fmla="*/ 134248 w 562873"/>
                <a:gd name="connsiteY3" fmla="*/ 377825 h 1003300"/>
                <a:gd name="connsiteX4" fmla="*/ 134248 w 562873"/>
                <a:gd name="connsiteY4" fmla="*/ 285750 h 1003300"/>
                <a:gd name="connsiteX5" fmla="*/ 96148 w 562873"/>
                <a:gd name="connsiteY5" fmla="*/ 438150 h 1003300"/>
                <a:gd name="connsiteX6" fmla="*/ 898 w 562873"/>
                <a:gd name="connsiteY6" fmla="*/ 438150 h 1003300"/>
                <a:gd name="connsiteX7" fmla="*/ 239023 w 562873"/>
                <a:gd name="connsiteY7" fmla="*/ 6350 h 1003300"/>
                <a:gd name="connsiteX8" fmla="*/ 270773 w 562873"/>
                <a:gd name="connsiteY8" fmla="*/ 41275 h 1003300"/>
                <a:gd name="connsiteX9" fmla="*/ 308873 w 562873"/>
                <a:gd name="connsiteY9" fmla="*/ 0 h 1003300"/>
                <a:gd name="connsiteX10" fmla="*/ 562873 w 562873"/>
                <a:gd name="connsiteY10" fmla="*/ 434975 h 1003300"/>
                <a:gd name="connsiteX11" fmla="*/ 464448 w 562873"/>
                <a:gd name="connsiteY11" fmla="*/ 434975 h 1003300"/>
                <a:gd name="connsiteX12" fmla="*/ 423173 w 562873"/>
                <a:gd name="connsiteY12" fmla="*/ 254000 h 1003300"/>
                <a:gd name="connsiteX13" fmla="*/ 429523 w 562873"/>
                <a:gd name="connsiteY13" fmla="*/ 390525 h 1003300"/>
                <a:gd name="connsiteX14" fmla="*/ 477148 w 562873"/>
                <a:gd name="connsiteY14" fmla="*/ 679450 h 1003300"/>
                <a:gd name="connsiteX15" fmla="*/ 413648 w 562873"/>
                <a:gd name="connsiteY15" fmla="*/ 679450 h 1003300"/>
                <a:gd name="connsiteX16" fmla="*/ 413648 w 562873"/>
                <a:gd name="connsiteY16" fmla="*/ 1003300 h 1003300"/>
                <a:gd name="connsiteX17" fmla="*/ 286648 w 562873"/>
                <a:gd name="connsiteY17" fmla="*/ 1003300 h 1003300"/>
                <a:gd name="connsiteX18" fmla="*/ 280298 w 562873"/>
                <a:gd name="connsiteY18" fmla="*/ 676275 h 1003300"/>
                <a:gd name="connsiteX19" fmla="*/ 267598 w 562873"/>
                <a:gd name="connsiteY19" fmla="*/ 990600 h 1003300"/>
                <a:gd name="connsiteX20" fmla="*/ 137423 w 562873"/>
                <a:gd name="connsiteY20" fmla="*/ 987425 h 1003300"/>
                <a:gd name="connsiteX0" fmla="*/ 137423 w 562873"/>
                <a:gd name="connsiteY0" fmla="*/ 981075 h 996950"/>
                <a:gd name="connsiteX1" fmla="*/ 137423 w 562873"/>
                <a:gd name="connsiteY1" fmla="*/ 663575 h 996950"/>
                <a:gd name="connsiteX2" fmla="*/ 80273 w 562873"/>
                <a:gd name="connsiteY2" fmla="*/ 663575 h 996950"/>
                <a:gd name="connsiteX3" fmla="*/ 134248 w 562873"/>
                <a:gd name="connsiteY3" fmla="*/ 371475 h 996950"/>
                <a:gd name="connsiteX4" fmla="*/ 134248 w 562873"/>
                <a:gd name="connsiteY4" fmla="*/ 279400 h 996950"/>
                <a:gd name="connsiteX5" fmla="*/ 96148 w 562873"/>
                <a:gd name="connsiteY5" fmla="*/ 431800 h 996950"/>
                <a:gd name="connsiteX6" fmla="*/ 898 w 562873"/>
                <a:gd name="connsiteY6" fmla="*/ 431800 h 996950"/>
                <a:gd name="connsiteX7" fmla="*/ 239023 w 562873"/>
                <a:gd name="connsiteY7" fmla="*/ 0 h 996950"/>
                <a:gd name="connsiteX8" fmla="*/ 270773 w 562873"/>
                <a:gd name="connsiteY8" fmla="*/ 34925 h 996950"/>
                <a:gd name="connsiteX9" fmla="*/ 311255 w 562873"/>
                <a:gd name="connsiteY9" fmla="*/ 3175 h 996950"/>
                <a:gd name="connsiteX10" fmla="*/ 562873 w 562873"/>
                <a:gd name="connsiteY10" fmla="*/ 428625 h 996950"/>
                <a:gd name="connsiteX11" fmla="*/ 464448 w 562873"/>
                <a:gd name="connsiteY11" fmla="*/ 428625 h 996950"/>
                <a:gd name="connsiteX12" fmla="*/ 423173 w 562873"/>
                <a:gd name="connsiteY12" fmla="*/ 247650 h 996950"/>
                <a:gd name="connsiteX13" fmla="*/ 429523 w 562873"/>
                <a:gd name="connsiteY13" fmla="*/ 384175 h 996950"/>
                <a:gd name="connsiteX14" fmla="*/ 477148 w 562873"/>
                <a:gd name="connsiteY14" fmla="*/ 673100 h 996950"/>
                <a:gd name="connsiteX15" fmla="*/ 413648 w 562873"/>
                <a:gd name="connsiteY15" fmla="*/ 673100 h 996950"/>
                <a:gd name="connsiteX16" fmla="*/ 413648 w 562873"/>
                <a:gd name="connsiteY16" fmla="*/ 996950 h 996950"/>
                <a:gd name="connsiteX17" fmla="*/ 286648 w 562873"/>
                <a:gd name="connsiteY17" fmla="*/ 996950 h 996950"/>
                <a:gd name="connsiteX18" fmla="*/ 280298 w 562873"/>
                <a:gd name="connsiteY18" fmla="*/ 669925 h 996950"/>
                <a:gd name="connsiteX19" fmla="*/ 267598 w 562873"/>
                <a:gd name="connsiteY19" fmla="*/ 984250 h 996950"/>
                <a:gd name="connsiteX20" fmla="*/ 137423 w 562873"/>
                <a:gd name="connsiteY20" fmla="*/ 981075 h 996950"/>
                <a:gd name="connsiteX0" fmla="*/ 137423 w 562873"/>
                <a:gd name="connsiteY0" fmla="*/ 981075 h 996950"/>
                <a:gd name="connsiteX1" fmla="*/ 137423 w 562873"/>
                <a:gd name="connsiteY1" fmla="*/ 663575 h 996950"/>
                <a:gd name="connsiteX2" fmla="*/ 80273 w 562873"/>
                <a:gd name="connsiteY2" fmla="*/ 663575 h 996950"/>
                <a:gd name="connsiteX3" fmla="*/ 134248 w 562873"/>
                <a:gd name="connsiteY3" fmla="*/ 371475 h 996950"/>
                <a:gd name="connsiteX4" fmla="*/ 134248 w 562873"/>
                <a:gd name="connsiteY4" fmla="*/ 279400 h 996950"/>
                <a:gd name="connsiteX5" fmla="*/ 96148 w 562873"/>
                <a:gd name="connsiteY5" fmla="*/ 431800 h 996950"/>
                <a:gd name="connsiteX6" fmla="*/ 898 w 562873"/>
                <a:gd name="connsiteY6" fmla="*/ 431800 h 996950"/>
                <a:gd name="connsiteX7" fmla="*/ 239023 w 562873"/>
                <a:gd name="connsiteY7" fmla="*/ 0 h 996950"/>
                <a:gd name="connsiteX8" fmla="*/ 270773 w 562873"/>
                <a:gd name="connsiteY8" fmla="*/ 34925 h 996950"/>
                <a:gd name="connsiteX9" fmla="*/ 311255 w 562873"/>
                <a:gd name="connsiteY9" fmla="*/ 3175 h 996950"/>
                <a:gd name="connsiteX10" fmla="*/ 562873 w 562873"/>
                <a:gd name="connsiteY10" fmla="*/ 428625 h 996950"/>
                <a:gd name="connsiteX11" fmla="*/ 464448 w 562873"/>
                <a:gd name="connsiteY11" fmla="*/ 428625 h 996950"/>
                <a:gd name="connsiteX12" fmla="*/ 423173 w 562873"/>
                <a:gd name="connsiteY12" fmla="*/ 247650 h 996950"/>
                <a:gd name="connsiteX13" fmla="*/ 429523 w 562873"/>
                <a:gd name="connsiteY13" fmla="*/ 384175 h 996950"/>
                <a:gd name="connsiteX14" fmla="*/ 477148 w 562873"/>
                <a:gd name="connsiteY14" fmla="*/ 673100 h 996950"/>
                <a:gd name="connsiteX15" fmla="*/ 413648 w 562873"/>
                <a:gd name="connsiteY15" fmla="*/ 673100 h 996950"/>
                <a:gd name="connsiteX16" fmla="*/ 413648 w 562873"/>
                <a:gd name="connsiteY16" fmla="*/ 996950 h 996950"/>
                <a:gd name="connsiteX17" fmla="*/ 286648 w 562873"/>
                <a:gd name="connsiteY17" fmla="*/ 996950 h 996950"/>
                <a:gd name="connsiteX18" fmla="*/ 280298 w 562873"/>
                <a:gd name="connsiteY18" fmla="*/ 669925 h 996950"/>
                <a:gd name="connsiteX19" fmla="*/ 267598 w 562873"/>
                <a:gd name="connsiteY19" fmla="*/ 984250 h 996950"/>
                <a:gd name="connsiteX20" fmla="*/ 137423 w 562873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9523 w 563209"/>
                <a:gd name="connsiteY13" fmla="*/ 384175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9523 w 563209"/>
                <a:gd name="connsiteY13" fmla="*/ 384175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9523 w 563209"/>
                <a:gd name="connsiteY13" fmla="*/ 384175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9523 w 563209"/>
                <a:gd name="connsiteY13" fmla="*/ 384175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9523 w 563209"/>
                <a:gd name="connsiteY13" fmla="*/ 384175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9523 w 563209"/>
                <a:gd name="connsiteY13" fmla="*/ 384175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9523 w 563209"/>
                <a:gd name="connsiteY13" fmla="*/ 384175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9523 w 563209"/>
                <a:gd name="connsiteY13" fmla="*/ 384175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4760 w 563209"/>
                <a:gd name="connsiteY13" fmla="*/ 369888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1022359"/>
                <a:gd name="connsiteX1" fmla="*/ 137423 w 563209"/>
                <a:gd name="connsiteY1" fmla="*/ 663575 h 1022359"/>
                <a:gd name="connsiteX2" fmla="*/ 80273 w 563209"/>
                <a:gd name="connsiteY2" fmla="*/ 663575 h 1022359"/>
                <a:gd name="connsiteX3" fmla="*/ 134248 w 563209"/>
                <a:gd name="connsiteY3" fmla="*/ 371475 h 1022359"/>
                <a:gd name="connsiteX4" fmla="*/ 134248 w 563209"/>
                <a:gd name="connsiteY4" fmla="*/ 279400 h 1022359"/>
                <a:gd name="connsiteX5" fmla="*/ 96148 w 563209"/>
                <a:gd name="connsiteY5" fmla="*/ 431800 h 1022359"/>
                <a:gd name="connsiteX6" fmla="*/ 898 w 563209"/>
                <a:gd name="connsiteY6" fmla="*/ 431800 h 1022359"/>
                <a:gd name="connsiteX7" fmla="*/ 239023 w 563209"/>
                <a:gd name="connsiteY7" fmla="*/ 0 h 1022359"/>
                <a:gd name="connsiteX8" fmla="*/ 270773 w 563209"/>
                <a:gd name="connsiteY8" fmla="*/ 34925 h 1022359"/>
                <a:gd name="connsiteX9" fmla="*/ 311255 w 563209"/>
                <a:gd name="connsiteY9" fmla="*/ 3175 h 1022359"/>
                <a:gd name="connsiteX10" fmla="*/ 562873 w 563209"/>
                <a:gd name="connsiteY10" fmla="*/ 428625 h 1022359"/>
                <a:gd name="connsiteX11" fmla="*/ 464448 w 563209"/>
                <a:gd name="connsiteY11" fmla="*/ 428625 h 1022359"/>
                <a:gd name="connsiteX12" fmla="*/ 423173 w 563209"/>
                <a:gd name="connsiteY12" fmla="*/ 247650 h 1022359"/>
                <a:gd name="connsiteX13" fmla="*/ 424760 w 563209"/>
                <a:gd name="connsiteY13" fmla="*/ 369888 h 1022359"/>
                <a:gd name="connsiteX14" fmla="*/ 477148 w 563209"/>
                <a:gd name="connsiteY14" fmla="*/ 673100 h 1022359"/>
                <a:gd name="connsiteX15" fmla="*/ 413648 w 563209"/>
                <a:gd name="connsiteY15" fmla="*/ 673100 h 1022359"/>
                <a:gd name="connsiteX16" fmla="*/ 413648 w 563209"/>
                <a:gd name="connsiteY16" fmla="*/ 996950 h 1022359"/>
                <a:gd name="connsiteX17" fmla="*/ 286648 w 563209"/>
                <a:gd name="connsiteY17" fmla="*/ 996950 h 1022359"/>
                <a:gd name="connsiteX18" fmla="*/ 280298 w 563209"/>
                <a:gd name="connsiteY18" fmla="*/ 669925 h 1022359"/>
                <a:gd name="connsiteX19" fmla="*/ 267598 w 563209"/>
                <a:gd name="connsiteY19" fmla="*/ 984250 h 1022359"/>
                <a:gd name="connsiteX20" fmla="*/ 137423 w 563209"/>
                <a:gd name="connsiteY20" fmla="*/ 981075 h 1022359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80273 w 563209"/>
                <a:gd name="connsiteY2" fmla="*/ 663575 h 1042663"/>
                <a:gd name="connsiteX3" fmla="*/ 134248 w 563209"/>
                <a:gd name="connsiteY3" fmla="*/ 371475 h 1042663"/>
                <a:gd name="connsiteX4" fmla="*/ 134248 w 563209"/>
                <a:gd name="connsiteY4" fmla="*/ 279400 h 1042663"/>
                <a:gd name="connsiteX5" fmla="*/ 96148 w 563209"/>
                <a:gd name="connsiteY5" fmla="*/ 431800 h 1042663"/>
                <a:gd name="connsiteX6" fmla="*/ 898 w 563209"/>
                <a:gd name="connsiteY6" fmla="*/ 431800 h 1042663"/>
                <a:gd name="connsiteX7" fmla="*/ 239023 w 563209"/>
                <a:gd name="connsiteY7" fmla="*/ 0 h 1042663"/>
                <a:gd name="connsiteX8" fmla="*/ 270773 w 563209"/>
                <a:gd name="connsiteY8" fmla="*/ 34925 h 1042663"/>
                <a:gd name="connsiteX9" fmla="*/ 311255 w 563209"/>
                <a:gd name="connsiteY9" fmla="*/ 3175 h 1042663"/>
                <a:gd name="connsiteX10" fmla="*/ 562873 w 563209"/>
                <a:gd name="connsiteY10" fmla="*/ 428625 h 1042663"/>
                <a:gd name="connsiteX11" fmla="*/ 464448 w 563209"/>
                <a:gd name="connsiteY11" fmla="*/ 428625 h 1042663"/>
                <a:gd name="connsiteX12" fmla="*/ 423173 w 563209"/>
                <a:gd name="connsiteY12" fmla="*/ 247650 h 1042663"/>
                <a:gd name="connsiteX13" fmla="*/ 424760 w 563209"/>
                <a:gd name="connsiteY13" fmla="*/ 369888 h 1042663"/>
                <a:gd name="connsiteX14" fmla="*/ 477148 w 563209"/>
                <a:gd name="connsiteY14" fmla="*/ 673100 h 1042663"/>
                <a:gd name="connsiteX15" fmla="*/ 413648 w 563209"/>
                <a:gd name="connsiteY15" fmla="*/ 673100 h 1042663"/>
                <a:gd name="connsiteX16" fmla="*/ 413648 w 563209"/>
                <a:gd name="connsiteY16" fmla="*/ 996950 h 1042663"/>
                <a:gd name="connsiteX17" fmla="*/ 286648 w 563209"/>
                <a:gd name="connsiteY17" fmla="*/ 996950 h 1042663"/>
                <a:gd name="connsiteX18" fmla="*/ 280298 w 563209"/>
                <a:gd name="connsiteY18" fmla="*/ 669925 h 1042663"/>
                <a:gd name="connsiteX19" fmla="*/ 267598 w 563209"/>
                <a:gd name="connsiteY19" fmla="*/ 984250 h 1042663"/>
                <a:gd name="connsiteX20" fmla="*/ 137423 w 563209"/>
                <a:gd name="connsiteY20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80273 w 563209"/>
                <a:gd name="connsiteY2" fmla="*/ 663575 h 1042663"/>
                <a:gd name="connsiteX3" fmla="*/ 134248 w 563209"/>
                <a:gd name="connsiteY3" fmla="*/ 371475 h 1042663"/>
                <a:gd name="connsiteX4" fmla="*/ 134248 w 563209"/>
                <a:gd name="connsiteY4" fmla="*/ 279400 h 1042663"/>
                <a:gd name="connsiteX5" fmla="*/ 96148 w 563209"/>
                <a:gd name="connsiteY5" fmla="*/ 431800 h 1042663"/>
                <a:gd name="connsiteX6" fmla="*/ 898 w 563209"/>
                <a:gd name="connsiteY6" fmla="*/ 431800 h 1042663"/>
                <a:gd name="connsiteX7" fmla="*/ 239023 w 563209"/>
                <a:gd name="connsiteY7" fmla="*/ 0 h 1042663"/>
                <a:gd name="connsiteX8" fmla="*/ 270773 w 563209"/>
                <a:gd name="connsiteY8" fmla="*/ 34925 h 1042663"/>
                <a:gd name="connsiteX9" fmla="*/ 311255 w 563209"/>
                <a:gd name="connsiteY9" fmla="*/ 3175 h 1042663"/>
                <a:gd name="connsiteX10" fmla="*/ 562873 w 563209"/>
                <a:gd name="connsiteY10" fmla="*/ 428625 h 1042663"/>
                <a:gd name="connsiteX11" fmla="*/ 464448 w 563209"/>
                <a:gd name="connsiteY11" fmla="*/ 428625 h 1042663"/>
                <a:gd name="connsiteX12" fmla="*/ 423173 w 563209"/>
                <a:gd name="connsiteY12" fmla="*/ 247650 h 1042663"/>
                <a:gd name="connsiteX13" fmla="*/ 424760 w 563209"/>
                <a:gd name="connsiteY13" fmla="*/ 369888 h 1042663"/>
                <a:gd name="connsiteX14" fmla="*/ 477148 w 563209"/>
                <a:gd name="connsiteY14" fmla="*/ 673100 h 1042663"/>
                <a:gd name="connsiteX15" fmla="*/ 413648 w 563209"/>
                <a:gd name="connsiteY15" fmla="*/ 673100 h 1042663"/>
                <a:gd name="connsiteX16" fmla="*/ 413648 w 563209"/>
                <a:gd name="connsiteY16" fmla="*/ 996950 h 1042663"/>
                <a:gd name="connsiteX17" fmla="*/ 286648 w 563209"/>
                <a:gd name="connsiteY17" fmla="*/ 996950 h 1042663"/>
                <a:gd name="connsiteX18" fmla="*/ 280298 w 563209"/>
                <a:gd name="connsiteY18" fmla="*/ 669925 h 1042663"/>
                <a:gd name="connsiteX19" fmla="*/ 267598 w 563209"/>
                <a:gd name="connsiteY19" fmla="*/ 984250 h 1042663"/>
                <a:gd name="connsiteX20" fmla="*/ 137423 w 563209"/>
                <a:gd name="connsiteY20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80273 w 563209"/>
                <a:gd name="connsiteY2" fmla="*/ 663575 h 1042663"/>
                <a:gd name="connsiteX3" fmla="*/ 134248 w 563209"/>
                <a:gd name="connsiteY3" fmla="*/ 371475 h 1042663"/>
                <a:gd name="connsiteX4" fmla="*/ 134248 w 563209"/>
                <a:gd name="connsiteY4" fmla="*/ 279400 h 1042663"/>
                <a:gd name="connsiteX5" fmla="*/ 96148 w 563209"/>
                <a:gd name="connsiteY5" fmla="*/ 431800 h 1042663"/>
                <a:gd name="connsiteX6" fmla="*/ 898 w 563209"/>
                <a:gd name="connsiteY6" fmla="*/ 431800 h 1042663"/>
                <a:gd name="connsiteX7" fmla="*/ 239023 w 563209"/>
                <a:gd name="connsiteY7" fmla="*/ 0 h 1042663"/>
                <a:gd name="connsiteX8" fmla="*/ 270773 w 563209"/>
                <a:gd name="connsiteY8" fmla="*/ 34925 h 1042663"/>
                <a:gd name="connsiteX9" fmla="*/ 311255 w 563209"/>
                <a:gd name="connsiteY9" fmla="*/ 3175 h 1042663"/>
                <a:gd name="connsiteX10" fmla="*/ 562873 w 563209"/>
                <a:gd name="connsiteY10" fmla="*/ 428625 h 1042663"/>
                <a:gd name="connsiteX11" fmla="*/ 464448 w 563209"/>
                <a:gd name="connsiteY11" fmla="*/ 428625 h 1042663"/>
                <a:gd name="connsiteX12" fmla="*/ 423173 w 563209"/>
                <a:gd name="connsiteY12" fmla="*/ 247650 h 1042663"/>
                <a:gd name="connsiteX13" fmla="*/ 424760 w 563209"/>
                <a:gd name="connsiteY13" fmla="*/ 369888 h 1042663"/>
                <a:gd name="connsiteX14" fmla="*/ 477148 w 563209"/>
                <a:gd name="connsiteY14" fmla="*/ 673100 h 1042663"/>
                <a:gd name="connsiteX15" fmla="*/ 413648 w 563209"/>
                <a:gd name="connsiteY15" fmla="*/ 673100 h 1042663"/>
                <a:gd name="connsiteX16" fmla="*/ 413648 w 563209"/>
                <a:gd name="connsiteY16" fmla="*/ 996950 h 1042663"/>
                <a:gd name="connsiteX17" fmla="*/ 286648 w 563209"/>
                <a:gd name="connsiteY17" fmla="*/ 996950 h 1042663"/>
                <a:gd name="connsiteX18" fmla="*/ 280298 w 563209"/>
                <a:gd name="connsiteY18" fmla="*/ 669925 h 1042663"/>
                <a:gd name="connsiteX19" fmla="*/ 267598 w 563209"/>
                <a:gd name="connsiteY19" fmla="*/ 984250 h 1042663"/>
                <a:gd name="connsiteX20" fmla="*/ 137423 w 563209"/>
                <a:gd name="connsiteY20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80273 w 563209"/>
                <a:gd name="connsiteY2" fmla="*/ 663575 h 1042663"/>
                <a:gd name="connsiteX3" fmla="*/ 134248 w 563209"/>
                <a:gd name="connsiteY3" fmla="*/ 371475 h 1042663"/>
                <a:gd name="connsiteX4" fmla="*/ 134248 w 563209"/>
                <a:gd name="connsiteY4" fmla="*/ 279400 h 1042663"/>
                <a:gd name="connsiteX5" fmla="*/ 96148 w 563209"/>
                <a:gd name="connsiteY5" fmla="*/ 431800 h 1042663"/>
                <a:gd name="connsiteX6" fmla="*/ 898 w 563209"/>
                <a:gd name="connsiteY6" fmla="*/ 431800 h 1042663"/>
                <a:gd name="connsiteX7" fmla="*/ 239023 w 563209"/>
                <a:gd name="connsiteY7" fmla="*/ 0 h 1042663"/>
                <a:gd name="connsiteX8" fmla="*/ 270773 w 563209"/>
                <a:gd name="connsiteY8" fmla="*/ 34925 h 1042663"/>
                <a:gd name="connsiteX9" fmla="*/ 311255 w 563209"/>
                <a:gd name="connsiteY9" fmla="*/ 3175 h 1042663"/>
                <a:gd name="connsiteX10" fmla="*/ 562873 w 563209"/>
                <a:gd name="connsiteY10" fmla="*/ 428625 h 1042663"/>
                <a:gd name="connsiteX11" fmla="*/ 464448 w 563209"/>
                <a:gd name="connsiteY11" fmla="*/ 428625 h 1042663"/>
                <a:gd name="connsiteX12" fmla="*/ 423173 w 563209"/>
                <a:gd name="connsiteY12" fmla="*/ 247650 h 1042663"/>
                <a:gd name="connsiteX13" fmla="*/ 424760 w 563209"/>
                <a:gd name="connsiteY13" fmla="*/ 369888 h 1042663"/>
                <a:gd name="connsiteX14" fmla="*/ 477148 w 563209"/>
                <a:gd name="connsiteY14" fmla="*/ 673100 h 1042663"/>
                <a:gd name="connsiteX15" fmla="*/ 413648 w 563209"/>
                <a:gd name="connsiteY15" fmla="*/ 673100 h 1042663"/>
                <a:gd name="connsiteX16" fmla="*/ 413648 w 563209"/>
                <a:gd name="connsiteY16" fmla="*/ 996950 h 1042663"/>
                <a:gd name="connsiteX17" fmla="*/ 286648 w 563209"/>
                <a:gd name="connsiteY17" fmla="*/ 996950 h 1042663"/>
                <a:gd name="connsiteX18" fmla="*/ 280298 w 563209"/>
                <a:gd name="connsiteY18" fmla="*/ 669925 h 1042663"/>
                <a:gd name="connsiteX19" fmla="*/ 267598 w 563209"/>
                <a:gd name="connsiteY19" fmla="*/ 984250 h 1042663"/>
                <a:gd name="connsiteX20" fmla="*/ 137423 w 563209"/>
                <a:gd name="connsiteY20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80273 w 563209"/>
                <a:gd name="connsiteY2" fmla="*/ 663575 h 1042663"/>
                <a:gd name="connsiteX3" fmla="*/ 134248 w 563209"/>
                <a:gd name="connsiteY3" fmla="*/ 371475 h 1042663"/>
                <a:gd name="connsiteX4" fmla="*/ 134248 w 563209"/>
                <a:gd name="connsiteY4" fmla="*/ 279400 h 1042663"/>
                <a:gd name="connsiteX5" fmla="*/ 96148 w 563209"/>
                <a:gd name="connsiteY5" fmla="*/ 431800 h 1042663"/>
                <a:gd name="connsiteX6" fmla="*/ 898 w 563209"/>
                <a:gd name="connsiteY6" fmla="*/ 431800 h 1042663"/>
                <a:gd name="connsiteX7" fmla="*/ 239023 w 563209"/>
                <a:gd name="connsiteY7" fmla="*/ 0 h 1042663"/>
                <a:gd name="connsiteX8" fmla="*/ 270773 w 563209"/>
                <a:gd name="connsiteY8" fmla="*/ 34925 h 1042663"/>
                <a:gd name="connsiteX9" fmla="*/ 311255 w 563209"/>
                <a:gd name="connsiteY9" fmla="*/ 3175 h 1042663"/>
                <a:gd name="connsiteX10" fmla="*/ 562873 w 563209"/>
                <a:gd name="connsiteY10" fmla="*/ 428625 h 1042663"/>
                <a:gd name="connsiteX11" fmla="*/ 464448 w 563209"/>
                <a:gd name="connsiteY11" fmla="*/ 428625 h 1042663"/>
                <a:gd name="connsiteX12" fmla="*/ 423173 w 563209"/>
                <a:gd name="connsiteY12" fmla="*/ 247650 h 1042663"/>
                <a:gd name="connsiteX13" fmla="*/ 424760 w 563209"/>
                <a:gd name="connsiteY13" fmla="*/ 369888 h 1042663"/>
                <a:gd name="connsiteX14" fmla="*/ 477148 w 563209"/>
                <a:gd name="connsiteY14" fmla="*/ 673100 h 1042663"/>
                <a:gd name="connsiteX15" fmla="*/ 413648 w 563209"/>
                <a:gd name="connsiteY15" fmla="*/ 673100 h 1042663"/>
                <a:gd name="connsiteX16" fmla="*/ 413648 w 563209"/>
                <a:gd name="connsiteY16" fmla="*/ 996950 h 1042663"/>
                <a:gd name="connsiteX17" fmla="*/ 286648 w 563209"/>
                <a:gd name="connsiteY17" fmla="*/ 996950 h 1042663"/>
                <a:gd name="connsiteX18" fmla="*/ 280298 w 563209"/>
                <a:gd name="connsiteY18" fmla="*/ 669925 h 1042663"/>
                <a:gd name="connsiteX19" fmla="*/ 267598 w 563209"/>
                <a:gd name="connsiteY19" fmla="*/ 984250 h 1042663"/>
                <a:gd name="connsiteX20" fmla="*/ 137423 w 563209"/>
                <a:gd name="connsiteY20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134248 w 563209"/>
                <a:gd name="connsiteY2" fmla="*/ 371475 h 1042663"/>
                <a:gd name="connsiteX3" fmla="*/ 134248 w 563209"/>
                <a:gd name="connsiteY3" fmla="*/ 279400 h 1042663"/>
                <a:gd name="connsiteX4" fmla="*/ 96148 w 563209"/>
                <a:gd name="connsiteY4" fmla="*/ 431800 h 1042663"/>
                <a:gd name="connsiteX5" fmla="*/ 898 w 563209"/>
                <a:gd name="connsiteY5" fmla="*/ 431800 h 1042663"/>
                <a:gd name="connsiteX6" fmla="*/ 239023 w 563209"/>
                <a:gd name="connsiteY6" fmla="*/ 0 h 1042663"/>
                <a:gd name="connsiteX7" fmla="*/ 270773 w 563209"/>
                <a:gd name="connsiteY7" fmla="*/ 34925 h 1042663"/>
                <a:gd name="connsiteX8" fmla="*/ 311255 w 563209"/>
                <a:gd name="connsiteY8" fmla="*/ 3175 h 1042663"/>
                <a:gd name="connsiteX9" fmla="*/ 562873 w 563209"/>
                <a:gd name="connsiteY9" fmla="*/ 428625 h 1042663"/>
                <a:gd name="connsiteX10" fmla="*/ 464448 w 563209"/>
                <a:gd name="connsiteY10" fmla="*/ 428625 h 1042663"/>
                <a:gd name="connsiteX11" fmla="*/ 423173 w 563209"/>
                <a:gd name="connsiteY11" fmla="*/ 247650 h 1042663"/>
                <a:gd name="connsiteX12" fmla="*/ 424760 w 563209"/>
                <a:gd name="connsiteY12" fmla="*/ 369888 h 1042663"/>
                <a:gd name="connsiteX13" fmla="*/ 477148 w 563209"/>
                <a:gd name="connsiteY13" fmla="*/ 673100 h 1042663"/>
                <a:gd name="connsiteX14" fmla="*/ 413648 w 563209"/>
                <a:gd name="connsiteY14" fmla="*/ 673100 h 1042663"/>
                <a:gd name="connsiteX15" fmla="*/ 413648 w 563209"/>
                <a:gd name="connsiteY15" fmla="*/ 996950 h 1042663"/>
                <a:gd name="connsiteX16" fmla="*/ 286648 w 563209"/>
                <a:gd name="connsiteY16" fmla="*/ 996950 h 1042663"/>
                <a:gd name="connsiteX17" fmla="*/ 280298 w 563209"/>
                <a:gd name="connsiteY17" fmla="*/ 669925 h 1042663"/>
                <a:gd name="connsiteX18" fmla="*/ 267598 w 563209"/>
                <a:gd name="connsiteY18" fmla="*/ 984250 h 1042663"/>
                <a:gd name="connsiteX19" fmla="*/ 137423 w 563209"/>
                <a:gd name="connsiteY19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141392 w 563209"/>
                <a:gd name="connsiteY2" fmla="*/ 473869 h 1042663"/>
                <a:gd name="connsiteX3" fmla="*/ 134248 w 563209"/>
                <a:gd name="connsiteY3" fmla="*/ 279400 h 1042663"/>
                <a:gd name="connsiteX4" fmla="*/ 96148 w 563209"/>
                <a:gd name="connsiteY4" fmla="*/ 431800 h 1042663"/>
                <a:gd name="connsiteX5" fmla="*/ 898 w 563209"/>
                <a:gd name="connsiteY5" fmla="*/ 431800 h 1042663"/>
                <a:gd name="connsiteX6" fmla="*/ 239023 w 563209"/>
                <a:gd name="connsiteY6" fmla="*/ 0 h 1042663"/>
                <a:gd name="connsiteX7" fmla="*/ 270773 w 563209"/>
                <a:gd name="connsiteY7" fmla="*/ 34925 h 1042663"/>
                <a:gd name="connsiteX8" fmla="*/ 311255 w 563209"/>
                <a:gd name="connsiteY8" fmla="*/ 3175 h 1042663"/>
                <a:gd name="connsiteX9" fmla="*/ 562873 w 563209"/>
                <a:gd name="connsiteY9" fmla="*/ 428625 h 1042663"/>
                <a:gd name="connsiteX10" fmla="*/ 464448 w 563209"/>
                <a:gd name="connsiteY10" fmla="*/ 428625 h 1042663"/>
                <a:gd name="connsiteX11" fmla="*/ 423173 w 563209"/>
                <a:gd name="connsiteY11" fmla="*/ 247650 h 1042663"/>
                <a:gd name="connsiteX12" fmla="*/ 424760 w 563209"/>
                <a:gd name="connsiteY12" fmla="*/ 369888 h 1042663"/>
                <a:gd name="connsiteX13" fmla="*/ 477148 w 563209"/>
                <a:gd name="connsiteY13" fmla="*/ 673100 h 1042663"/>
                <a:gd name="connsiteX14" fmla="*/ 413648 w 563209"/>
                <a:gd name="connsiteY14" fmla="*/ 673100 h 1042663"/>
                <a:gd name="connsiteX15" fmla="*/ 413648 w 563209"/>
                <a:gd name="connsiteY15" fmla="*/ 996950 h 1042663"/>
                <a:gd name="connsiteX16" fmla="*/ 286648 w 563209"/>
                <a:gd name="connsiteY16" fmla="*/ 996950 h 1042663"/>
                <a:gd name="connsiteX17" fmla="*/ 280298 w 563209"/>
                <a:gd name="connsiteY17" fmla="*/ 669925 h 1042663"/>
                <a:gd name="connsiteX18" fmla="*/ 267598 w 563209"/>
                <a:gd name="connsiteY18" fmla="*/ 984250 h 1042663"/>
                <a:gd name="connsiteX19" fmla="*/ 137423 w 563209"/>
                <a:gd name="connsiteY19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141392 w 563209"/>
                <a:gd name="connsiteY2" fmla="*/ 473869 h 1042663"/>
                <a:gd name="connsiteX3" fmla="*/ 134248 w 563209"/>
                <a:gd name="connsiteY3" fmla="*/ 279400 h 1042663"/>
                <a:gd name="connsiteX4" fmla="*/ 96148 w 563209"/>
                <a:gd name="connsiteY4" fmla="*/ 431800 h 1042663"/>
                <a:gd name="connsiteX5" fmla="*/ 898 w 563209"/>
                <a:gd name="connsiteY5" fmla="*/ 431800 h 1042663"/>
                <a:gd name="connsiteX6" fmla="*/ 239023 w 563209"/>
                <a:gd name="connsiteY6" fmla="*/ 0 h 1042663"/>
                <a:gd name="connsiteX7" fmla="*/ 270773 w 563209"/>
                <a:gd name="connsiteY7" fmla="*/ 34925 h 1042663"/>
                <a:gd name="connsiteX8" fmla="*/ 311255 w 563209"/>
                <a:gd name="connsiteY8" fmla="*/ 3175 h 1042663"/>
                <a:gd name="connsiteX9" fmla="*/ 562873 w 563209"/>
                <a:gd name="connsiteY9" fmla="*/ 428625 h 1042663"/>
                <a:gd name="connsiteX10" fmla="*/ 464448 w 563209"/>
                <a:gd name="connsiteY10" fmla="*/ 428625 h 1042663"/>
                <a:gd name="connsiteX11" fmla="*/ 423173 w 563209"/>
                <a:gd name="connsiteY11" fmla="*/ 247650 h 1042663"/>
                <a:gd name="connsiteX12" fmla="*/ 424760 w 563209"/>
                <a:gd name="connsiteY12" fmla="*/ 369888 h 1042663"/>
                <a:gd name="connsiteX13" fmla="*/ 477148 w 563209"/>
                <a:gd name="connsiteY13" fmla="*/ 673100 h 1042663"/>
                <a:gd name="connsiteX14" fmla="*/ 413648 w 563209"/>
                <a:gd name="connsiteY14" fmla="*/ 673100 h 1042663"/>
                <a:gd name="connsiteX15" fmla="*/ 413648 w 563209"/>
                <a:gd name="connsiteY15" fmla="*/ 996950 h 1042663"/>
                <a:gd name="connsiteX16" fmla="*/ 286648 w 563209"/>
                <a:gd name="connsiteY16" fmla="*/ 996950 h 1042663"/>
                <a:gd name="connsiteX17" fmla="*/ 280298 w 563209"/>
                <a:gd name="connsiteY17" fmla="*/ 669925 h 1042663"/>
                <a:gd name="connsiteX18" fmla="*/ 267598 w 563209"/>
                <a:gd name="connsiteY18" fmla="*/ 984250 h 1042663"/>
                <a:gd name="connsiteX19" fmla="*/ 137423 w 563209"/>
                <a:gd name="connsiteY19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141392 w 563209"/>
                <a:gd name="connsiteY2" fmla="*/ 473869 h 1042663"/>
                <a:gd name="connsiteX3" fmla="*/ 134248 w 563209"/>
                <a:gd name="connsiteY3" fmla="*/ 279400 h 1042663"/>
                <a:gd name="connsiteX4" fmla="*/ 96148 w 563209"/>
                <a:gd name="connsiteY4" fmla="*/ 431800 h 1042663"/>
                <a:gd name="connsiteX5" fmla="*/ 898 w 563209"/>
                <a:gd name="connsiteY5" fmla="*/ 431800 h 1042663"/>
                <a:gd name="connsiteX6" fmla="*/ 239023 w 563209"/>
                <a:gd name="connsiteY6" fmla="*/ 0 h 1042663"/>
                <a:gd name="connsiteX7" fmla="*/ 270773 w 563209"/>
                <a:gd name="connsiteY7" fmla="*/ 34925 h 1042663"/>
                <a:gd name="connsiteX8" fmla="*/ 311255 w 563209"/>
                <a:gd name="connsiteY8" fmla="*/ 3175 h 1042663"/>
                <a:gd name="connsiteX9" fmla="*/ 562873 w 563209"/>
                <a:gd name="connsiteY9" fmla="*/ 428625 h 1042663"/>
                <a:gd name="connsiteX10" fmla="*/ 464448 w 563209"/>
                <a:gd name="connsiteY10" fmla="*/ 428625 h 1042663"/>
                <a:gd name="connsiteX11" fmla="*/ 423173 w 563209"/>
                <a:gd name="connsiteY11" fmla="*/ 247650 h 1042663"/>
                <a:gd name="connsiteX12" fmla="*/ 419998 w 563209"/>
                <a:gd name="connsiteY12" fmla="*/ 465138 h 1042663"/>
                <a:gd name="connsiteX13" fmla="*/ 477148 w 563209"/>
                <a:gd name="connsiteY13" fmla="*/ 673100 h 1042663"/>
                <a:gd name="connsiteX14" fmla="*/ 413648 w 563209"/>
                <a:gd name="connsiteY14" fmla="*/ 673100 h 1042663"/>
                <a:gd name="connsiteX15" fmla="*/ 413648 w 563209"/>
                <a:gd name="connsiteY15" fmla="*/ 996950 h 1042663"/>
                <a:gd name="connsiteX16" fmla="*/ 286648 w 563209"/>
                <a:gd name="connsiteY16" fmla="*/ 996950 h 1042663"/>
                <a:gd name="connsiteX17" fmla="*/ 280298 w 563209"/>
                <a:gd name="connsiteY17" fmla="*/ 669925 h 1042663"/>
                <a:gd name="connsiteX18" fmla="*/ 267598 w 563209"/>
                <a:gd name="connsiteY18" fmla="*/ 984250 h 1042663"/>
                <a:gd name="connsiteX19" fmla="*/ 137423 w 563209"/>
                <a:gd name="connsiteY19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141392 w 563209"/>
                <a:gd name="connsiteY2" fmla="*/ 473869 h 1042663"/>
                <a:gd name="connsiteX3" fmla="*/ 134248 w 563209"/>
                <a:gd name="connsiteY3" fmla="*/ 279400 h 1042663"/>
                <a:gd name="connsiteX4" fmla="*/ 96148 w 563209"/>
                <a:gd name="connsiteY4" fmla="*/ 431800 h 1042663"/>
                <a:gd name="connsiteX5" fmla="*/ 898 w 563209"/>
                <a:gd name="connsiteY5" fmla="*/ 431800 h 1042663"/>
                <a:gd name="connsiteX6" fmla="*/ 239023 w 563209"/>
                <a:gd name="connsiteY6" fmla="*/ 0 h 1042663"/>
                <a:gd name="connsiteX7" fmla="*/ 270773 w 563209"/>
                <a:gd name="connsiteY7" fmla="*/ 34925 h 1042663"/>
                <a:gd name="connsiteX8" fmla="*/ 311255 w 563209"/>
                <a:gd name="connsiteY8" fmla="*/ 3175 h 1042663"/>
                <a:gd name="connsiteX9" fmla="*/ 562873 w 563209"/>
                <a:gd name="connsiteY9" fmla="*/ 428625 h 1042663"/>
                <a:gd name="connsiteX10" fmla="*/ 464448 w 563209"/>
                <a:gd name="connsiteY10" fmla="*/ 428625 h 1042663"/>
                <a:gd name="connsiteX11" fmla="*/ 423173 w 563209"/>
                <a:gd name="connsiteY11" fmla="*/ 247650 h 1042663"/>
                <a:gd name="connsiteX12" fmla="*/ 419998 w 563209"/>
                <a:gd name="connsiteY12" fmla="*/ 465138 h 1042663"/>
                <a:gd name="connsiteX13" fmla="*/ 477148 w 563209"/>
                <a:gd name="connsiteY13" fmla="*/ 673100 h 1042663"/>
                <a:gd name="connsiteX14" fmla="*/ 413648 w 563209"/>
                <a:gd name="connsiteY14" fmla="*/ 673100 h 1042663"/>
                <a:gd name="connsiteX15" fmla="*/ 413648 w 563209"/>
                <a:gd name="connsiteY15" fmla="*/ 996950 h 1042663"/>
                <a:gd name="connsiteX16" fmla="*/ 286648 w 563209"/>
                <a:gd name="connsiteY16" fmla="*/ 996950 h 1042663"/>
                <a:gd name="connsiteX17" fmla="*/ 280298 w 563209"/>
                <a:gd name="connsiteY17" fmla="*/ 669925 h 1042663"/>
                <a:gd name="connsiteX18" fmla="*/ 267598 w 563209"/>
                <a:gd name="connsiteY18" fmla="*/ 984250 h 1042663"/>
                <a:gd name="connsiteX19" fmla="*/ 137423 w 563209"/>
                <a:gd name="connsiteY19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141392 w 563209"/>
                <a:gd name="connsiteY2" fmla="*/ 473869 h 1042663"/>
                <a:gd name="connsiteX3" fmla="*/ 134248 w 563209"/>
                <a:gd name="connsiteY3" fmla="*/ 279400 h 1042663"/>
                <a:gd name="connsiteX4" fmla="*/ 96148 w 563209"/>
                <a:gd name="connsiteY4" fmla="*/ 431800 h 1042663"/>
                <a:gd name="connsiteX5" fmla="*/ 898 w 563209"/>
                <a:gd name="connsiteY5" fmla="*/ 431800 h 1042663"/>
                <a:gd name="connsiteX6" fmla="*/ 239023 w 563209"/>
                <a:gd name="connsiteY6" fmla="*/ 0 h 1042663"/>
                <a:gd name="connsiteX7" fmla="*/ 270773 w 563209"/>
                <a:gd name="connsiteY7" fmla="*/ 34925 h 1042663"/>
                <a:gd name="connsiteX8" fmla="*/ 311255 w 563209"/>
                <a:gd name="connsiteY8" fmla="*/ 3175 h 1042663"/>
                <a:gd name="connsiteX9" fmla="*/ 562873 w 563209"/>
                <a:gd name="connsiteY9" fmla="*/ 428625 h 1042663"/>
                <a:gd name="connsiteX10" fmla="*/ 464448 w 563209"/>
                <a:gd name="connsiteY10" fmla="*/ 428625 h 1042663"/>
                <a:gd name="connsiteX11" fmla="*/ 423173 w 563209"/>
                <a:gd name="connsiteY11" fmla="*/ 247650 h 1042663"/>
                <a:gd name="connsiteX12" fmla="*/ 419998 w 563209"/>
                <a:gd name="connsiteY12" fmla="*/ 465138 h 1042663"/>
                <a:gd name="connsiteX13" fmla="*/ 413648 w 563209"/>
                <a:gd name="connsiteY13" fmla="*/ 673100 h 1042663"/>
                <a:gd name="connsiteX14" fmla="*/ 413648 w 563209"/>
                <a:gd name="connsiteY14" fmla="*/ 996950 h 1042663"/>
                <a:gd name="connsiteX15" fmla="*/ 286648 w 563209"/>
                <a:gd name="connsiteY15" fmla="*/ 996950 h 1042663"/>
                <a:gd name="connsiteX16" fmla="*/ 280298 w 563209"/>
                <a:gd name="connsiteY16" fmla="*/ 669925 h 1042663"/>
                <a:gd name="connsiteX17" fmla="*/ 267598 w 563209"/>
                <a:gd name="connsiteY17" fmla="*/ 984250 h 1042663"/>
                <a:gd name="connsiteX18" fmla="*/ 137423 w 563209"/>
                <a:gd name="connsiteY18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141392 w 563209"/>
                <a:gd name="connsiteY2" fmla="*/ 473869 h 1042663"/>
                <a:gd name="connsiteX3" fmla="*/ 134248 w 563209"/>
                <a:gd name="connsiteY3" fmla="*/ 279400 h 1042663"/>
                <a:gd name="connsiteX4" fmla="*/ 96148 w 563209"/>
                <a:gd name="connsiteY4" fmla="*/ 431800 h 1042663"/>
                <a:gd name="connsiteX5" fmla="*/ 898 w 563209"/>
                <a:gd name="connsiteY5" fmla="*/ 431800 h 1042663"/>
                <a:gd name="connsiteX6" fmla="*/ 239023 w 563209"/>
                <a:gd name="connsiteY6" fmla="*/ 0 h 1042663"/>
                <a:gd name="connsiteX7" fmla="*/ 270773 w 563209"/>
                <a:gd name="connsiteY7" fmla="*/ 34925 h 1042663"/>
                <a:gd name="connsiteX8" fmla="*/ 311255 w 563209"/>
                <a:gd name="connsiteY8" fmla="*/ 3175 h 1042663"/>
                <a:gd name="connsiteX9" fmla="*/ 562873 w 563209"/>
                <a:gd name="connsiteY9" fmla="*/ 428625 h 1042663"/>
                <a:gd name="connsiteX10" fmla="*/ 464448 w 563209"/>
                <a:gd name="connsiteY10" fmla="*/ 428625 h 1042663"/>
                <a:gd name="connsiteX11" fmla="*/ 423173 w 563209"/>
                <a:gd name="connsiteY11" fmla="*/ 247650 h 1042663"/>
                <a:gd name="connsiteX12" fmla="*/ 419998 w 563209"/>
                <a:gd name="connsiteY12" fmla="*/ 465138 h 1042663"/>
                <a:gd name="connsiteX13" fmla="*/ 413648 w 563209"/>
                <a:gd name="connsiteY13" fmla="*/ 673100 h 1042663"/>
                <a:gd name="connsiteX14" fmla="*/ 413648 w 563209"/>
                <a:gd name="connsiteY14" fmla="*/ 996950 h 1042663"/>
                <a:gd name="connsiteX15" fmla="*/ 286648 w 563209"/>
                <a:gd name="connsiteY15" fmla="*/ 996950 h 1042663"/>
                <a:gd name="connsiteX16" fmla="*/ 280298 w 563209"/>
                <a:gd name="connsiteY16" fmla="*/ 669925 h 1042663"/>
                <a:gd name="connsiteX17" fmla="*/ 267598 w 563209"/>
                <a:gd name="connsiteY17" fmla="*/ 984250 h 1042663"/>
                <a:gd name="connsiteX18" fmla="*/ 137423 w 563209"/>
                <a:gd name="connsiteY18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141392 w 563209"/>
                <a:gd name="connsiteY2" fmla="*/ 473869 h 1042663"/>
                <a:gd name="connsiteX3" fmla="*/ 134248 w 563209"/>
                <a:gd name="connsiteY3" fmla="*/ 279400 h 1042663"/>
                <a:gd name="connsiteX4" fmla="*/ 96148 w 563209"/>
                <a:gd name="connsiteY4" fmla="*/ 431800 h 1042663"/>
                <a:gd name="connsiteX5" fmla="*/ 898 w 563209"/>
                <a:gd name="connsiteY5" fmla="*/ 431800 h 1042663"/>
                <a:gd name="connsiteX6" fmla="*/ 239023 w 563209"/>
                <a:gd name="connsiteY6" fmla="*/ 0 h 1042663"/>
                <a:gd name="connsiteX7" fmla="*/ 270773 w 563209"/>
                <a:gd name="connsiteY7" fmla="*/ 34925 h 1042663"/>
                <a:gd name="connsiteX8" fmla="*/ 311255 w 563209"/>
                <a:gd name="connsiteY8" fmla="*/ 3175 h 1042663"/>
                <a:gd name="connsiteX9" fmla="*/ 562873 w 563209"/>
                <a:gd name="connsiteY9" fmla="*/ 428625 h 1042663"/>
                <a:gd name="connsiteX10" fmla="*/ 464448 w 563209"/>
                <a:gd name="connsiteY10" fmla="*/ 428625 h 1042663"/>
                <a:gd name="connsiteX11" fmla="*/ 423173 w 563209"/>
                <a:gd name="connsiteY11" fmla="*/ 247650 h 1042663"/>
                <a:gd name="connsiteX12" fmla="*/ 419998 w 563209"/>
                <a:gd name="connsiteY12" fmla="*/ 465138 h 1042663"/>
                <a:gd name="connsiteX13" fmla="*/ 406505 w 563209"/>
                <a:gd name="connsiteY13" fmla="*/ 682625 h 1042663"/>
                <a:gd name="connsiteX14" fmla="*/ 413648 w 563209"/>
                <a:gd name="connsiteY14" fmla="*/ 996950 h 1042663"/>
                <a:gd name="connsiteX15" fmla="*/ 286648 w 563209"/>
                <a:gd name="connsiteY15" fmla="*/ 996950 h 1042663"/>
                <a:gd name="connsiteX16" fmla="*/ 280298 w 563209"/>
                <a:gd name="connsiteY16" fmla="*/ 669925 h 1042663"/>
                <a:gd name="connsiteX17" fmla="*/ 267598 w 563209"/>
                <a:gd name="connsiteY17" fmla="*/ 984250 h 1042663"/>
                <a:gd name="connsiteX18" fmla="*/ 137423 w 563209"/>
                <a:gd name="connsiteY18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141392 w 563209"/>
                <a:gd name="connsiteY2" fmla="*/ 473869 h 1042663"/>
                <a:gd name="connsiteX3" fmla="*/ 134248 w 563209"/>
                <a:gd name="connsiteY3" fmla="*/ 279400 h 1042663"/>
                <a:gd name="connsiteX4" fmla="*/ 96148 w 563209"/>
                <a:gd name="connsiteY4" fmla="*/ 431800 h 1042663"/>
                <a:gd name="connsiteX5" fmla="*/ 898 w 563209"/>
                <a:gd name="connsiteY5" fmla="*/ 431800 h 1042663"/>
                <a:gd name="connsiteX6" fmla="*/ 239023 w 563209"/>
                <a:gd name="connsiteY6" fmla="*/ 0 h 1042663"/>
                <a:gd name="connsiteX7" fmla="*/ 270773 w 563209"/>
                <a:gd name="connsiteY7" fmla="*/ 34925 h 1042663"/>
                <a:gd name="connsiteX8" fmla="*/ 311255 w 563209"/>
                <a:gd name="connsiteY8" fmla="*/ 3175 h 1042663"/>
                <a:gd name="connsiteX9" fmla="*/ 562873 w 563209"/>
                <a:gd name="connsiteY9" fmla="*/ 428625 h 1042663"/>
                <a:gd name="connsiteX10" fmla="*/ 464448 w 563209"/>
                <a:gd name="connsiteY10" fmla="*/ 428625 h 1042663"/>
                <a:gd name="connsiteX11" fmla="*/ 423173 w 563209"/>
                <a:gd name="connsiteY11" fmla="*/ 247650 h 1042663"/>
                <a:gd name="connsiteX12" fmla="*/ 419998 w 563209"/>
                <a:gd name="connsiteY12" fmla="*/ 465138 h 1042663"/>
                <a:gd name="connsiteX13" fmla="*/ 406505 w 563209"/>
                <a:gd name="connsiteY13" fmla="*/ 682625 h 1042663"/>
                <a:gd name="connsiteX14" fmla="*/ 411267 w 563209"/>
                <a:gd name="connsiteY14" fmla="*/ 975519 h 1042663"/>
                <a:gd name="connsiteX15" fmla="*/ 286648 w 563209"/>
                <a:gd name="connsiteY15" fmla="*/ 996950 h 1042663"/>
                <a:gd name="connsiteX16" fmla="*/ 280298 w 563209"/>
                <a:gd name="connsiteY16" fmla="*/ 669925 h 1042663"/>
                <a:gd name="connsiteX17" fmla="*/ 267598 w 563209"/>
                <a:gd name="connsiteY17" fmla="*/ 984250 h 1042663"/>
                <a:gd name="connsiteX18" fmla="*/ 137423 w 563209"/>
                <a:gd name="connsiteY18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141392 w 563209"/>
                <a:gd name="connsiteY2" fmla="*/ 473869 h 1042663"/>
                <a:gd name="connsiteX3" fmla="*/ 134248 w 563209"/>
                <a:gd name="connsiteY3" fmla="*/ 279400 h 1042663"/>
                <a:gd name="connsiteX4" fmla="*/ 96148 w 563209"/>
                <a:gd name="connsiteY4" fmla="*/ 431800 h 1042663"/>
                <a:gd name="connsiteX5" fmla="*/ 898 w 563209"/>
                <a:gd name="connsiteY5" fmla="*/ 431800 h 1042663"/>
                <a:gd name="connsiteX6" fmla="*/ 239023 w 563209"/>
                <a:gd name="connsiteY6" fmla="*/ 0 h 1042663"/>
                <a:gd name="connsiteX7" fmla="*/ 270773 w 563209"/>
                <a:gd name="connsiteY7" fmla="*/ 34925 h 1042663"/>
                <a:gd name="connsiteX8" fmla="*/ 311255 w 563209"/>
                <a:gd name="connsiteY8" fmla="*/ 3175 h 1042663"/>
                <a:gd name="connsiteX9" fmla="*/ 562873 w 563209"/>
                <a:gd name="connsiteY9" fmla="*/ 428625 h 1042663"/>
                <a:gd name="connsiteX10" fmla="*/ 464448 w 563209"/>
                <a:gd name="connsiteY10" fmla="*/ 428625 h 1042663"/>
                <a:gd name="connsiteX11" fmla="*/ 423173 w 563209"/>
                <a:gd name="connsiteY11" fmla="*/ 247650 h 1042663"/>
                <a:gd name="connsiteX12" fmla="*/ 419998 w 563209"/>
                <a:gd name="connsiteY12" fmla="*/ 465138 h 1042663"/>
                <a:gd name="connsiteX13" fmla="*/ 406505 w 563209"/>
                <a:gd name="connsiteY13" fmla="*/ 682625 h 1042663"/>
                <a:gd name="connsiteX14" fmla="*/ 411267 w 563209"/>
                <a:gd name="connsiteY14" fmla="*/ 975519 h 1042663"/>
                <a:gd name="connsiteX15" fmla="*/ 289030 w 563209"/>
                <a:gd name="connsiteY15" fmla="*/ 980281 h 1042663"/>
                <a:gd name="connsiteX16" fmla="*/ 280298 w 563209"/>
                <a:gd name="connsiteY16" fmla="*/ 669925 h 1042663"/>
                <a:gd name="connsiteX17" fmla="*/ 267598 w 563209"/>
                <a:gd name="connsiteY17" fmla="*/ 984250 h 1042663"/>
                <a:gd name="connsiteX18" fmla="*/ 137423 w 563209"/>
                <a:gd name="connsiteY18" fmla="*/ 981075 h 1042663"/>
                <a:gd name="connsiteX0" fmla="*/ 137423 w 563209"/>
                <a:gd name="connsiteY0" fmla="*/ 981075 h 1035612"/>
                <a:gd name="connsiteX1" fmla="*/ 137423 w 563209"/>
                <a:gd name="connsiteY1" fmla="*/ 663575 h 1035612"/>
                <a:gd name="connsiteX2" fmla="*/ 141392 w 563209"/>
                <a:gd name="connsiteY2" fmla="*/ 473869 h 1035612"/>
                <a:gd name="connsiteX3" fmla="*/ 134248 w 563209"/>
                <a:gd name="connsiteY3" fmla="*/ 279400 h 1035612"/>
                <a:gd name="connsiteX4" fmla="*/ 96148 w 563209"/>
                <a:gd name="connsiteY4" fmla="*/ 431800 h 1035612"/>
                <a:gd name="connsiteX5" fmla="*/ 898 w 563209"/>
                <a:gd name="connsiteY5" fmla="*/ 431800 h 1035612"/>
                <a:gd name="connsiteX6" fmla="*/ 239023 w 563209"/>
                <a:gd name="connsiteY6" fmla="*/ 0 h 1035612"/>
                <a:gd name="connsiteX7" fmla="*/ 270773 w 563209"/>
                <a:gd name="connsiteY7" fmla="*/ 34925 h 1035612"/>
                <a:gd name="connsiteX8" fmla="*/ 311255 w 563209"/>
                <a:gd name="connsiteY8" fmla="*/ 3175 h 1035612"/>
                <a:gd name="connsiteX9" fmla="*/ 562873 w 563209"/>
                <a:gd name="connsiteY9" fmla="*/ 428625 h 1035612"/>
                <a:gd name="connsiteX10" fmla="*/ 464448 w 563209"/>
                <a:gd name="connsiteY10" fmla="*/ 428625 h 1035612"/>
                <a:gd name="connsiteX11" fmla="*/ 423173 w 563209"/>
                <a:gd name="connsiteY11" fmla="*/ 247650 h 1035612"/>
                <a:gd name="connsiteX12" fmla="*/ 419998 w 563209"/>
                <a:gd name="connsiteY12" fmla="*/ 465138 h 1035612"/>
                <a:gd name="connsiteX13" fmla="*/ 406505 w 563209"/>
                <a:gd name="connsiteY13" fmla="*/ 682625 h 1035612"/>
                <a:gd name="connsiteX14" fmla="*/ 411267 w 563209"/>
                <a:gd name="connsiteY14" fmla="*/ 975519 h 1035612"/>
                <a:gd name="connsiteX15" fmla="*/ 289030 w 563209"/>
                <a:gd name="connsiteY15" fmla="*/ 980281 h 1035612"/>
                <a:gd name="connsiteX16" fmla="*/ 280298 w 563209"/>
                <a:gd name="connsiteY16" fmla="*/ 669925 h 1035612"/>
                <a:gd name="connsiteX17" fmla="*/ 269979 w 563209"/>
                <a:gd name="connsiteY17" fmla="*/ 967581 h 1035612"/>
                <a:gd name="connsiteX18" fmla="*/ 137423 w 563209"/>
                <a:gd name="connsiteY18" fmla="*/ 981075 h 1035612"/>
                <a:gd name="connsiteX0" fmla="*/ 135042 w 563209"/>
                <a:gd name="connsiteY0" fmla="*/ 962025 h 1024722"/>
                <a:gd name="connsiteX1" fmla="*/ 137423 w 563209"/>
                <a:gd name="connsiteY1" fmla="*/ 663575 h 1024722"/>
                <a:gd name="connsiteX2" fmla="*/ 141392 w 563209"/>
                <a:gd name="connsiteY2" fmla="*/ 473869 h 1024722"/>
                <a:gd name="connsiteX3" fmla="*/ 134248 w 563209"/>
                <a:gd name="connsiteY3" fmla="*/ 279400 h 1024722"/>
                <a:gd name="connsiteX4" fmla="*/ 96148 w 563209"/>
                <a:gd name="connsiteY4" fmla="*/ 431800 h 1024722"/>
                <a:gd name="connsiteX5" fmla="*/ 898 w 563209"/>
                <a:gd name="connsiteY5" fmla="*/ 431800 h 1024722"/>
                <a:gd name="connsiteX6" fmla="*/ 239023 w 563209"/>
                <a:gd name="connsiteY6" fmla="*/ 0 h 1024722"/>
                <a:gd name="connsiteX7" fmla="*/ 270773 w 563209"/>
                <a:gd name="connsiteY7" fmla="*/ 34925 h 1024722"/>
                <a:gd name="connsiteX8" fmla="*/ 311255 w 563209"/>
                <a:gd name="connsiteY8" fmla="*/ 3175 h 1024722"/>
                <a:gd name="connsiteX9" fmla="*/ 562873 w 563209"/>
                <a:gd name="connsiteY9" fmla="*/ 428625 h 1024722"/>
                <a:gd name="connsiteX10" fmla="*/ 464448 w 563209"/>
                <a:gd name="connsiteY10" fmla="*/ 428625 h 1024722"/>
                <a:gd name="connsiteX11" fmla="*/ 423173 w 563209"/>
                <a:gd name="connsiteY11" fmla="*/ 247650 h 1024722"/>
                <a:gd name="connsiteX12" fmla="*/ 419998 w 563209"/>
                <a:gd name="connsiteY12" fmla="*/ 465138 h 1024722"/>
                <a:gd name="connsiteX13" fmla="*/ 406505 w 563209"/>
                <a:gd name="connsiteY13" fmla="*/ 682625 h 1024722"/>
                <a:gd name="connsiteX14" fmla="*/ 411267 w 563209"/>
                <a:gd name="connsiteY14" fmla="*/ 975519 h 1024722"/>
                <a:gd name="connsiteX15" fmla="*/ 289030 w 563209"/>
                <a:gd name="connsiteY15" fmla="*/ 980281 h 1024722"/>
                <a:gd name="connsiteX16" fmla="*/ 280298 w 563209"/>
                <a:gd name="connsiteY16" fmla="*/ 669925 h 1024722"/>
                <a:gd name="connsiteX17" fmla="*/ 269979 w 563209"/>
                <a:gd name="connsiteY17" fmla="*/ 967581 h 1024722"/>
                <a:gd name="connsiteX18" fmla="*/ 135042 w 563209"/>
                <a:gd name="connsiteY18" fmla="*/ 962025 h 1024722"/>
                <a:gd name="connsiteX0" fmla="*/ 135042 w 563209"/>
                <a:gd name="connsiteY0" fmla="*/ 962025 h 1024722"/>
                <a:gd name="connsiteX1" fmla="*/ 137423 w 563209"/>
                <a:gd name="connsiteY1" fmla="*/ 663575 h 1024722"/>
                <a:gd name="connsiteX2" fmla="*/ 141392 w 563209"/>
                <a:gd name="connsiteY2" fmla="*/ 473869 h 1024722"/>
                <a:gd name="connsiteX3" fmla="*/ 134248 w 563209"/>
                <a:gd name="connsiteY3" fmla="*/ 279400 h 1024722"/>
                <a:gd name="connsiteX4" fmla="*/ 96148 w 563209"/>
                <a:gd name="connsiteY4" fmla="*/ 431800 h 1024722"/>
                <a:gd name="connsiteX5" fmla="*/ 898 w 563209"/>
                <a:gd name="connsiteY5" fmla="*/ 431800 h 1024722"/>
                <a:gd name="connsiteX6" fmla="*/ 239023 w 563209"/>
                <a:gd name="connsiteY6" fmla="*/ 0 h 1024722"/>
                <a:gd name="connsiteX7" fmla="*/ 270773 w 563209"/>
                <a:gd name="connsiteY7" fmla="*/ 34925 h 1024722"/>
                <a:gd name="connsiteX8" fmla="*/ 311255 w 563209"/>
                <a:gd name="connsiteY8" fmla="*/ 3175 h 1024722"/>
                <a:gd name="connsiteX9" fmla="*/ 562873 w 563209"/>
                <a:gd name="connsiteY9" fmla="*/ 428625 h 1024722"/>
                <a:gd name="connsiteX10" fmla="*/ 464448 w 563209"/>
                <a:gd name="connsiteY10" fmla="*/ 428625 h 1024722"/>
                <a:gd name="connsiteX11" fmla="*/ 423173 w 563209"/>
                <a:gd name="connsiteY11" fmla="*/ 247650 h 1024722"/>
                <a:gd name="connsiteX12" fmla="*/ 419998 w 563209"/>
                <a:gd name="connsiteY12" fmla="*/ 465138 h 1024722"/>
                <a:gd name="connsiteX13" fmla="*/ 406505 w 563209"/>
                <a:gd name="connsiteY13" fmla="*/ 682625 h 1024722"/>
                <a:gd name="connsiteX14" fmla="*/ 411267 w 563209"/>
                <a:gd name="connsiteY14" fmla="*/ 975519 h 1024722"/>
                <a:gd name="connsiteX15" fmla="*/ 289030 w 563209"/>
                <a:gd name="connsiteY15" fmla="*/ 980281 h 1024722"/>
                <a:gd name="connsiteX16" fmla="*/ 280298 w 563209"/>
                <a:gd name="connsiteY16" fmla="*/ 550862 h 1024722"/>
                <a:gd name="connsiteX17" fmla="*/ 269979 w 563209"/>
                <a:gd name="connsiteY17" fmla="*/ 967581 h 1024722"/>
                <a:gd name="connsiteX18" fmla="*/ 135042 w 563209"/>
                <a:gd name="connsiteY18" fmla="*/ 962025 h 1024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63209" h="1024722">
                  <a:moveTo>
                    <a:pt x="135042" y="962025"/>
                  </a:moveTo>
                  <a:cubicBezTo>
                    <a:pt x="135836" y="862542"/>
                    <a:pt x="136629" y="763058"/>
                    <a:pt x="137423" y="663575"/>
                  </a:cubicBezTo>
                  <a:cubicBezTo>
                    <a:pt x="136365" y="566208"/>
                    <a:pt x="142450" y="571236"/>
                    <a:pt x="141392" y="473869"/>
                  </a:cubicBezTo>
                  <a:cubicBezTo>
                    <a:pt x="122342" y="444765"/>
                    <a:pt x="136629" y="344223"/>
                    <a:pt x="134248" y="279400"/>
                  </a:cubicBezTo>
                  <a:cubicBezTo>
                    <a:pt x="112023" y="258762"/>
                    <a:pt x="108848" y="381000"/>
                    <a:pt x="96148" y="431800"/>
                  </a:cubicBezTo>
                  <a:cubicBezTo>
                    <a:pt x="73923" y="477043"/>
                    <a:pt x="27886" y="481806"/>
                    <a:pt x="898" y="431800"/>
                  </a:cubicBezTo>
                  <a:cubicBezTo>
                    <a:pt x="-12596" y="194998"/>
                    <a:pt x="128692" y="32014"/>
                    <a:pt x="239023" y="0"/>
                  </a:cubicBezTo>
                  <a:lnTo>
                    <a:pt x="270773" y="34925"/>
                  </a:lnTo>
                  <a:lnTo>
                    <a:pt x="311255" y="3175"/>
                  </a:lnTo>
                  <a:cubicBezTo>
                    <a:pt x="478472" y="28311"/>
                    <a:pt x="569488" y="270139"/>
                    <a:pt x="562873" y="428625"/>
                  </a:cubicBezTo>
                  <a:cubicBezTo>
                    <a:pt x="544353" y="497681"/>
                    <a:pt x="475825" y="492919"/>
                    <a:pt x="464448" y="428625"/>
                  </a:cubicBezTo>
                  <a:cubicBezTo>
                    <a:pt x="457834" y="358775"/>
                    <a:pt x="448838" y="279400"/>
                    <a:pt x="423173" y="247650"/>
                  </a:cubicBezTo>
                  <a:cubicBezTo>
                    <a:pt x="422115" y="320146"/>
                    <a:pt x="435344" y="423598"/>
                    <a:pt x="419998" y="465138"/>
                  </a:cubicBezTo>
                  <a:cubicBezTo>
                    <a:pt x="399361" y="500327"/>
                    <a:pt x="407563" y="593990"/>
                    <a:pt x="406505" y="682625"/>
                  </a:cubicBezTo>
                  <a:cubicBezTo>
                    <a:pt x="408092" y="780256"/>
                    <a:pt x="409680" y="877888"/>
                    <a:pt x="411267" y="975519"/>
                  </a:cubicBezTo>
                  <a:cubicBezTo>
                    <a:pt x="378459" y="1030288"/>
                    <a:pt x="314694" y="1037431"/>
                    <a:pt x="289030" y="980281"/>
                  </a:cubicBezTo>
                  <a:cubicBezTo>
                    <a:pt x="286913" y="871273"/>
                    <a:pt x="282415" y="540807"/>
                    <a:pt x="280298" y="550862"/>
                  </a:cubicBezTo>
                  <a:cubicBezTo>
                    <a:pt x="257015" y="531812"/>
                    <a:pt x="274212" y="862806"/>
                    <a:pt x="269979" y="967581"/>
                  </a:cubicBezTo>
                  <a:cubicBezTo>
                    <a:pt x="255162" y="1035579"/>
                    <a:pt x="161766" y="1053570"/>
                    <a:pt x="135042" y="962025"/>
                  </a:cubicBezTo>
                  <a:close/>
                </a:path>
              </a:pathLst>
            </a:custGeom>
            <a:solidFill>
              <a:srgbClr val="7C2529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kern="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06" name="Group 105"/>
          <p:cNvGrpSpPr>
            <a:grpSpLocks/>
          </p:cNvGrpSpPr>
          <p:nvPr/>
        </p:nvGrpSpPr>
        <p:grpSpPr>
          <a:xfrm>
            <a:off x="1760047" y="1720751"/>
            <a:ext cx="150444" cy="353870"/>
            <a:chOff x="8102504" y="1653116"/>
            <a:chExt cx="192709" cy="453284"/>
          </a:xfrm>
        </p:grpSpPr>
        <p:sp>
          <p:nvSpPr>
            <p:cNvPr id="107" name="Oval 106"/>
            <p:cNvSpPr/>
            <p:nvPr/>
          </p:nvSpPr>
          <p:spPr>
            <a:xfrm>
              <a:off x="8146168" y="1653116"/>
              <a:ext cx="100493" cy="100493"/>
            </a:xfrm>
            <a:prstGeom prst="ellipse">
              <a:avLst/>
            </a:prstGeom>
            <a:solidFill>
              <a:srgbClr val="7C2529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kern="0" dirty="0" smtClean="0">
                <a:solidFill>
                  <a:prstClr val="black"/>
                </a:solidFill>
              </a:endParaRPr>
            </a:p>
          </p:txBody>
        </p:sp>
        <p:sp>
          <p:nvSpPr>
            <p:cNvPr id="108" name="Freeform 107"/>
            <p:cNvSpPr/>
            <p:nvPr/>
          </p:nvSpPr>
          <p:spPr>
            <a:xfrm>
              <a:off x="8102504" y="1755779"/>
              <a:ext cx="192709" cy="350621"/>
            </a:xfrm>
            <a:custGeom>
              <a:avLst/>
              <a:gdLst>
                <a:gd name="connsiteX0" fmla="*/ 136525 w 561975"/>
                <a:gd name="connsiteY0" fmla="*/ 987425 h 1003300"/>
                <a:gd name="connsiteX1" fmla="*/ 136525 w 561975"/>
                <a:gd name="connsiteY1" fmla="*/ 669925 h 1003300"/>
                <a:gd name="connsiteX2" fmla="*/ 79375 w 561975"/>
                <a:gd name="connsiteY2" fmla="*/ 669925 h 1003300"/>
                <a:gd name="connsiteX3" fmla="*/ 133350 w 561975"/>
                <a:gd name="connsiteY3" fmla="*/ 377825 h 1003300"/>
                <a:gd name="connsiteX4" fmla="*/ 133350 w 561975"/>
                <a:gd name="connsiteY4" fmla="*/ 285750 h 1003300"/>
                <a:gd name="connsiteX5" fmla="*/ 95250 w 561975"/>
                <a:gd name="connsiteY5" fmla="*/ 438150 h 1003300"/>
                <a:gd name="connsiteX6" fmla="*/ 0 w 561975"/>
                <a:gd name="connsiteY6" fmla="*/ 438150 h 1003300"/>
                <a:gd name="connsiteX7" fmla="*/ 238125 w 561975"/>
                <a:gd name="connsiteY7" fmla="*/ 6350 h 1003300"/>
                <a:gd name="connsiteX8" fmla="*/ 269875 w 561975"/>
                <a:gd name="connsiteY8" fmla="*/ 41275 h 1003300"/>
                <a:gd name="connsiteX9" fmla="*/ 307975 w 561975"/>
                <a:gd name="connsiteY9" fmla="*/ 0 h 1003300"/>
                <a:gd name="connsiteX10" fmla="*/ 561975 w 561975"/>
                <a:gd name="connsiteY10" fmla="*/ 434975 h 1003300"/>
                <a:gd name="connsiteX11" fmla="*/ 463550 w 561975"/>
                <a:gd name="connsiteY11" fmla="*/ 434975 h 1003300"/>
                <a:gd name="connsiteX12" fmla="*/ 422275 w 561975"/>
                <a:gd name="connsiteY12" fmla="*/ 254000 h 1003300"/>
                <a:gd name="connsiteX13" fmla="*/ 428625 w 561975"/>
                <a:gd name="connsiteY13" fmla="*/ 390525 h 1003300"/>
                <a:gd name="connsiteX14" fmla="*/ 476250 w 561975"/>
                <a:gd name="connsiteY14" fmla="*/ 679450 h 1003300"/>
                <a:gd name="connsiteX15" fmla="*/ 412750 w 561975"/>
                <a:gd name="connsiteY15" fmla="*/ 679450 h 1003300"/>
                <a:gd name="connsiteX16" fmla="*/ 412750 w 561975"/>
                <a:gd name="connsiteY16" fmla="*/ 1003300 h 1003300"/>
                <a:gd name="connsiteX17" fmla="*/ 285750 w 561975"/>
                <a:gd name="connsiteY17" fmla="*/ 1003300 h 1003300"/>
                <a:gd name="connsiteX18" fmla="*/ 279400 w 561975"/>
                <a:gd name="connsiteY18" fmla="*/ 676275 h 1003300"/>
                <a:gd name="connsiteX19" fmla="*/ 266700 w 561975"/>
                <a:gd name="connsiteY19" fmla="*/ 990600 h 1003300"/>
                <a:gd name="connsiteX20" fmla="*/ 136525 w 561975"/>
                <a:gd name="connsiteY20" fmla="*/ 987425 h 1003300"/>
                <a:gd name="connsiteX0" fmla="*/ 136525 w 561975"/>
                <a:gd name="connsiteY0" fmla="*/ 987425 h 1003300"/>
                <a:gd name="connsiteX1" fmla="*/ 136525 w 561975"/>
                <a:gd name="connsiteY1" fmla="*/ 669925 h 1003300"/>
                <a:gd name="connsiteX2" fmla="*/ 79375 w 561975"/>
                <a:gd name="connsiteY2" fmla="*/ 669925 h 1003300"/>
                <a:gd name="connsiteX3" fmla="*/ 133350 w 561975"/>
                <a:gd name="connsiteY3" fmla="*/ 377825 h 1003300"/>
                <a:gd name="connsiteX4" fmla="*/ 133350 w 561975"/>
                <a:gd name="connsiteY4" fmla="*/ 285750 h 1003300"/>
                <a:gd name="connsiteX5" fmla="*/ 95250 w 561975"/>
                <a:gd name="connsiteY5" fmla="*/ 438150 h 1003300"/>
                <a:gd name="connsiteX6" fmla="*/ 0 w 561975"/>
                <a:gd name="connsiteY6" fmla="*/ 438150 h 1003300"/>
                <a:gd name="connsiteX7" fmla="*/ 238125 w 561975"/>
                <a:gd name="connsiteY7" fmla="*/ 6350 h 1003300"/>
                <a:gd name="connsiteX8" fmla="*/ 269875 w 561975"/>
                <a:gd name="connsiteY8" fmla="*/ 41275 h 1003300"/>
                <a:gd name="connsiteX9" fmla="*/ 307975 w 561975"/>
                <a:gd name="connsiteY9" fmla="*/ 0 h 1003300"/>
                <a:gd name="connsiteX10" fmla="*/ 561975 w 561975"/>
                <a:gd name="connsiteY10" fmla="*/ 434975 h 1003300"/>
                <a:gd name="connsiteX11" fmla="*/ 463550 w 561975"/>
                <a:gd name="connsiteY11" fmla="*/ 434975 h 1003300"/>
                <a:gd name="connsiteX12" fmla="*/ 422275 w 561975"/>
                <a:gd name="connsiteY12" fmla="*/ 254000 h 1003300"/>
                <a:gd name="connsiteX13" fmla="*/ 428625 w 561975"/>
                <a:gd name="connsiteY13" fmla="*/ 390525 h 1003300"/>
                <a:gd name="connsiteX14" fmla="*/ 476250 w 561975"/>
                <a:gd name="connsiteY14" fmla="*/ 679450 h 1003300"/>
                <a:gd name="connsiteX15" fmla="*/ 412750 w 561975"/>
                <a:gd name="connsiteY15" fmla="*/ 679450 h 1003300"/>
                <a:gd name="connsiteX16" fmla="*/ 412750 w 561975"/>
                <a:gd name="connsiteY16" fmla="*/ 1003300 h 1003300"/>
                <a:gd name="connsiteX17" fmla="*/ 285750 w 561975"/>
                <a:gd name="connsiteY17" fmla="*/ 1003300 h 1003300"/>
                <a:gd name="connsiteX18" fmla="*/ 279400 w 561975"/>
                <a:gd name="connsiteY18" fmla="*/ 676275 h 1003300"/>
                <a:gd name="connsiteX19" fmla="*/ 266700 w 561975"/>
                <a:gd name="connsiteY19" fmla="*/ 990600 h 1003300"/>
                <a:gd name="connsiteX20" fmla="*/ 136525 w 561975"/>
                <a:gd name="connsiteY20" fmla="*/ 987425 h 1003300"/>
                <a:gd name="connsiteX0" fmla="*/ 136525 w 561975"/>
                <a:gd name="connsiteY0" fmla="*/ 987425 h 1003300"/>
                <a:gd name="connsiteX1" fmla="*/ 136525 w 561975"/>
                <a:gd name="connsiteY1" fmla="*/ 669925 h 1003300"/>
                <a:gd name="connsiteX2" fmla="*/ 79375 w 561975"/>
                <a:gd name="connsiteY2" fmla="*/ 669925 h 1003300"/>
                <a:gd name="connsiteX3" fmla="*/ 133350 w 561975"/>
                <a:gd name="connsiteY3" fmla="*/ 377825 h 1003300"/>
                <a:gd name="connsiteX4" fmla="*/ 133350 w 561975"/>
                <a:gd name="connsiteY4" fmla="*/ 285750 h 1003300"/>
                <a:gd name="connsiteX5" fmla="*/ 95250 w 561975"/>
                <a:gd name="connsiteY5" fmla="*/ 438150 h 1003300"/>
                <a:gd name="connsiteX6" fmla="*/ 0 w 561975"/>
                <a:gd name="connsiteY6" fmla="*/ 438150 h 1003300"/>
                <a:gd name="connsiteX7" fmla="*/ 238125 w 561975"/>
                <a:gd name="connsiteY7" fmla="*/ 6350 h 1003300"/>
                <a:gd name="connsiteX8" fmla="*/ 269875 w 561975"/>
                <a:gd name="connsiteY8" fmla="*/ 41275 h 1003300"/>
                <a:gd name="connsiteX9" fmla="*/ 307975 w 561975"/>
                <a:gd name="connsiteY9" fmla="*/ 0 h 1003300"/>
                <a:gd name="connsiteX10" fmla="*/ 561975 w 561975"/>
                <a:gd name="connsiteY10" fmla="*/ 434975 h 1003300"/>
                <a:gd name="connsiteX11" fmla="*/ 463550 w 561975"/>
                <a:gd name="connsiteY11" fmla="*/ 434975 h 1003300"/>
                <a:gd name="connsiteX12" fmla="*/ 422275 w 561975"/>
                <a:gd name="connsiteY12" fmla="*/ 254000 h 1003300"/>
                <a:gd name="connsiteX13" fmla="*/ 428625 w 561975"/>
                <a:gd name="connsiteY13" fmla="*/ 390525 h 1003300"/>
                <a:gd name="connsiteX14" fmla="*/ 476250 w 561975"/>
                <a:gd name="connsiteY14" fmla="*/ 679450 h 1003300"/>
                <a:gd name="connsiteX15" fmla="*/ 412750 w 561975"/>
                <a:gd name="connsiteY15" fmla="*/ 679450 h 1003300"/>
                <a:gd name="connsiteX16" fmla="*/ 412750 w 561975"/>
                <a:gd name="connsiteY16" fmla="*/ 1003300 h 1003300"/>
                <a:gd name="connsiteX17" fmla="*/ 285750 w 561975"/>
                <a:gd name="connsiteY17" fmla="*/ 1003300 h 1003300"/>
                <a:gd name="connsiteX18" fmla="*/ 279400 w 561975"/>
                <a:gd name="connsiteY18" fmla="*/ 676275 h 1003300"/>
                <a:gd name="connsiteX19" fmla="*/ 266700 w 561975"/>
                <a:gd name="connsiteY19" fmla="*/ 990600 h 1003300"/>
                <a:gd name="connsiteX20" fmla="*/ 136525 w 561975"/>
                <a:gd name="connsiteY20" fmla="*/ 987425 h 1003300"/>
                <a:gd name="connsiteX0" fmla="*/ 136525 w 561975"/>
                <a:gd name="connsiteY0" fmla="*/ 987425 h 1003300"/>
                <a:gd name="connsiteX1" fmla="*/ 136525 w 561975"/>
                <a:gd name="connsiteY1" fmla="*/ 669925 h 1003300"/>
                <a:gd name="connsiteX2" fmla="*/ 79375 w 561975"/>
                <a:gd name="connsiteY2" fmla="*/ 669925 h 1003300"/>
                <a:gd name="connsiteX3" fmla="*/ 133350 w 561975"/>
                <a:gd name="connsiteY3" fmla="*/ 377825 h 1003300"/>
                <a:gd name="connsiteX4" fmla="*/ 133350 w 561975"/>
                <a:gd name="connsiteY4" fmla="*/ 285750 h 1003300"/>
                <a:gd name="connsiteX5" fmla="*/ 95250 w 561975"/>
                <a:gd name="connsiteY5" fmla="*/ 438150 h 1003300"/>
                <a:gd name="connsiteX6" fmla="*/ 0 w 561975"/>
                <a:gd name="connsiteY6" fmla="*/ 438150 h 1003300"/>
                <a:gd name="connsiteX7" fmla="*/ 238125 w 561975"/>
                <a:gd name="connsiteY7" fmla="*/ 6350 h 1003300"/>
                <a:gd name="connsiteX8" fmla="*/ 269875 w 561975"/>
                <a:gd name="connsiteY8" fmla="*/ 41275 h 1003300"/>
                <a:gd name="connsiteX9" fmla="*/ 307975 w 561975"/>
                <a:gd name="connsiteY9" fmla="*/ 0 h 1003300"/>
                <a:gd name="connsiteX10" fmla="*/ 561975 w 561975"/>
                <a:gd name="connsiteY10" fmla="*/ 434975 h 1003300"/>
                <a:gd name="connsiteX11" fmla="*/ 463550 w 561975"/>
                <a:gd name="connsiteY11" fmla="*/ 434975 h 1003300"/>
                <a:gd name="connsiteX12" fmla="*/ 422275 w 561975"/>
                <a:gd name="connsiteY12" fmla="*/ 254000 h 1003300"/>
                <a:gd name="connsiteX13" fmla="*/ 428625 w 561975"/>
                <a:gd name="connsiteY13" fmla="*/ 390525 h 1003300"/>
                <a:gd name="connsiteX14" fmla="*/ 476250 w 561975"/>
                <a:gd name="connsiteY14" fmla="*/ 679450 h 1003300"/>
                <a:gd name="connsiteX15" fmla="*/ 412750 w 561975"/>
                <a:gd name="connsiteY15" fmla="*/ 679450 h 1003300"/>
                <a:gd name="connsiteX16" fmla="*/ 412750 w 561975"/>
                <a:gd name="connsiteY16" fmla="*/ 1003300 h 1003300"/>
                <a:gd name="connsiteX17" fmla="*/ 285750 w 561975"/>
                <a:gd name="connsiteY17" fmla="*/ 1003300 h 1003300"/>
                <a:gd name="connsiteX18" fmla="*/ 279400 w 561975"/>
                <a:gd name="connsiteY18" fmla="*/ 676275 h 1003300"/>
                <a:gd name="connsiteX19" fmla="*/ 266700 w 561975"/>
                <a:gd name="connsiteY19" fmla="*/ 990600 h 1003300"/>
                <a:gd name="connsiteX20" fmla="*/ 136525 w 561975"/>
                <a:gd name="connsiteY20" fmla="*/ 987425 h 1003300"/>
                <a:gd name="connsiteX0" fmla="*/ 136525 w 561975"/>
                <a:gd name="connsiteY0" fmla="*/ 987425 h 1003300"/>
                <a:gd name="connsiteX1" fmla="*/ 136525 w 561975"/>
                <a:gd name="connsiteY1" fmla="*/ 669925 h 1003300"/>
                <a:gd name="connsiteX2" fmla="*/ 79375 w 561975"/>
                <a:gd name="connsiteY2" fmla="*/ 669925 h 1003300"/>
                <a:gd name="connsiteX3" fmla="*/ 133350 w 561975"/>
                <a:gd name="connsiteY3" fmla="*/ 377825 h 1003300"/>
                <a:gd name="connsiteX4" fmla="*/ 133350 w 561975"/>
                <a:gd name="connsiteY4" fmla="*/ 285750 h 1003300"/>
                <a:gd name="connsiteX5" fmla="*/ 95250 w 561975"/>
                <a:gd name="connsiteY5" fmla="*/ 438150 h 1003300"/>
                <a:gd name="connsiteX6" fmla="*/ 0 w 561975"/>
                <a:gd name="connsiteY6" fmla="*/ 438150 h 1003300"/>
                <a:gd name="connsiteX7" fmla="*/ 238125 w 561975"/>
                <a:gd name="connsiteY7" fmla="*/ 6350 h 1003300"/>
                <a:gd name="connsiteX8" fmla="*/ 269875 w 561975"/>
                <a:gd name="connsiteY8" fmla="*/ 41275 h 1003300"/>
                <a:gd name="connsiteX9" fmla="*/ 307975 w 561975"/>
                <a:gd name="connsiteY9" fmla="*/ 0 h 1003300"/>
                <a:gd name="connsiteX10" fmla="*/ 561975 w 561975"/>
                <a:gd name="connsiteY10" fmla="*/ 434975 h 1003300"/>
                <a:gd name="connsiteX11" fmla="*/ 463550 w 561975"/>
                <a:gd name="connsiteY11" fmla="*/ 434975 h 1003300"/>
                <a:gd name="connsiteX12" fmla="*/ 422275 w 561975"/>
                <a:gd name="connsiteY12" fmla="*/ 254000 h 1003300"/>
                <a:gd name="connsiteX13" fmla="*/ 428625 w 561975"/>
                <a:gd name="connsiteY13" fmla="*/ 390525 h 1003300"/>
                <a:gd name="connsiteX14" fmla="*/ 476250 w 561975"/>
                <a:gd name="connsiteY14" fmla="*/ 679450 h 1003300"/>
                <a:gd name="connsiteX15" fmla="*/ 412750 w 561975"/>
                <a:gd name="connsiteY15" fmla="*/ 679450 h 1003300"/>
                <a:gd name="connsiteX16" fmla="*/ 412750 w 561975"/>
                <a:gd name="connsiteY16" fmla="*/ 1003300 h 1003300"/>
                <a:gd name="connsiteX17" fmla="*/ 285750 w 561975"/>
                <a:gd name="connsiteY17" fmla="*/ 1003300 h 1003300"/>
                <a:gd name="connsiteX18" fmla="*/ 279400 w 561975"/>
                <a:gd name="connsiteY18" fmla="*/ 676275 h 1003300"/>
                <a:gd name="connsiteX19" fmla="*/ 266700 w 561975"/>
                <a:gd name="connsiteY19" fmla="*/ 990600 h 1003300"/>
                <a:gd name="connsiteX20" fmla="*/ 136525 w 561975"/>
                <a:gd name="connsiteY20" fmla="*/ 987425 h 1003300"/>
                <a:gd name="connsiteX0" fmla="*/ 136525 w 561975"/>
                <a:gd name="connsiteY0" fmla="*/ 987425 h 1003300"/>
                <a:gd name="connsiteX1" fmla="*/ 136525 w 561975"/>
                <a:gd name="connsiteY1" fmla="*/ 669925 h 1003300"/>
                <a:gd name="connsiteX2" fmla="*/ 79375 w 561975"/>
                <a:gd name="connsiteY2" fmla="*/ 669925 h 1003300"/>
                <a:gd name="connsiteX3" fmla="*/ 133350 w 561975"/>
                <a:gd name="connsiteY3" fmla="*/ 377825 h 1003300"/>
                <a:gd name="connsiteX4" fmla="*/ 133350 w 561975"/>
                <a:gd name="connsiteY4" fmla="*/ 285750 h 1003300"/>
                <a:gd name="connsiteX5" fmla="*/ 95250 w 561975"/>
                <a:gd name="connsiteY5" fmla="*/ 438150 h 1003300"/>
                <a:gd name="connsiteX6" fmla="*/ 0 w 561975"/>
                <a:gd name="connsiteY6" fmla="*/ 438150 h 1003300"/>
                <a:gd name="connsiteX7" fmla="*/ 238125 w 561975"/>
                <a:gd name="connsiteY7" fmla="*/ 6350 h 1003300"/>
                <a:gd name="connsiteX8" fmla="*/ 269875 w 561975"/>
                <a:gd name="connsiteY8" fmla="*/ 41275 h 1003300"/>
                <a:gd name="connsiteX9" fmla="*/ 307975 w 561975"/>
                <a:gd name="connsiteY9" fmla="*/ 0 h 1003300"/>
                <a:gd name="connsiteX10" fmla="*/ 561975 w 561975"/>
                <a:gd name="connsiteY10" fmla="*/ 434975 h 1003300"/>
                <a:gd name="connsiteX11" fmla="*/ 463550 w 561975"/>
                <a:gd name="connsiteY11" fmla="*/ 434975 h 1003300"/>
                <a:gd name="connsiteX12" fmla="*/ 422275 w 561975"/>
                <a:gd name="connsiteY12" fmla="*/ 254000 h 1003300"/>
                <a:gd name="connsiteX13" fmla="*/ 428625 w 561975"/>
                <a:gd name="connsiteY13" fmla="*/ 390525 h 1003300"/>
                <a:gd name="connsiteX14" fmla="*/ 476250 w 561975"/>
                <a:gd name="connsiteY14" fmla="*/ 679450 h 1003300"/>
                <a:gd name="connsiteX15" fmla="*/ 412750 w 561975"/>
                <a:gd name="connsiteY15" fmla="*/ 679450 h 1003300"/>
                <a:gd name="connsiteX16" fmla="*/ 412750 w 561975"/>
                <a:gd name="connsiteY16" fmla="*/ 1003300 h 1003300"/>
                <a:gd name="connsiteX17" fmla="*/ 285750 w 561975"/>
                <a:gd name="connsiteY17" fmla="*/ 1003300 h 1003300"/>
                <a:gd name="connsiteX18" fmla="*/ 279400 w 561975"/>
                <a:gd name="connsiteY18" fmla="*/ 676275 h 1003300"/>
                <a:gd name="connsiteX19" fmla="*/ 266700 w 561975"/>
                <a:gd name="connsiteY19" fmla="*/ 990600 h 1003300"/>
                <a:gd name="connsiteX20" fmla="*/ 136525 w 561975"/>
                <a:gd name="connsiteY20" fmla="*/ 987425 h 1003300"/>
                <a:gd name="connsiteX0" fmla="*/ 137274 w 562724"/>
                <a:gd name="connsiteY0" fmla="*/ 987425 h 1003300"/>
                <a:gd name="connsiteX1" fmla="*/ 137274 w 562724"/>
                <a:gd name="connsiteY1" fmla="*/ 669925 h 1003300"/>
                <a:gd name="connsiteX2" fmla="*/ 80124 w 562724"/>
                <a:gd name="connsiteY2" fmla="*/ 669925 h 1003300"/>
                <a:gd name="connsiteX3" fmla="*/ 134099 w 562724"/>
                <a:gd name="connsiteY3" fmla="*/ 377825 h 1003300"/>
                <a:gd name="connsiteX4" fmla="*/ 134099 w 562724"/>
                <a:gd name="connsiteY4" fmla="*/ 285750 h 1003300"/>
                <a:gd name="connsiteX5" fmla="*/ 95999 w 562724"/>
                <a:gd name="connsiteY5" fmla="*/ 438150 h 1003300"/>
                <a:gd name="connsiteX6" fmla="*/ 749 w 562724"/>
                <a:gd name="connsiteY6" fmla="*/ 438150 h 1003300"/>
                <a:gd name="connsiteX7" fmla="*/ 238874 w 562724"/>
                <a:gd name="connsiteY7" fmla="*/ 6350 h 1003300"/>
                <a:gd name="connsiteX8" fmla="*/ 270624 w 562724"/>
                <a:gd name="connsiteY8" fmla="*/ 41275 h 1003300"/>
                <a:gd name="connsiteX9" fmla="*/ 308724 w 562724"/>
                <a:gd name="connsiteY9" fmla="*/ 0 h 1003300"/>
                <a:gd name="connsiteX10" fmla="*/ 562724 w 562724"/>
                <a:gd name="connsiteY10" fmla="*/ 434975 h 1003300"/>
                <a:gd name="connsiteX11" fmla="*/ 464299 w 562724"/>
                <a:gd name="connsiteY11" fmla="*/ 434975 h 1003300"/>
                <a:gd name="connsiteX12" fmla="*/ 423024 w 562724"/>
                <a:gd name="connsiteY12" fmla="*/ 254000 h 1003300"/>
                <a:gd name="connsiteX13" fmla="*/ 429374 w 562724"/>
                <a:gd name="connsiteY13" fmla="*/ 390525 h 1003300"/>
                <a:gd name="connsiteX14" fmla="*/ 476999 w 562724"/>
                <a:gd name="connsiteY14" fmla="*/ 679450 h 1003300"/>
                <a:gd name="connsiteX15" fmla="*/ 413499 w 562724"/>
                <a:gd name="connsiteY15" fmla="*/ 679450 h 1003300"/>
                <a:gd name="connsiteX16" fmla="*/ 413499 w 562724"/>
                <a:gd name="connsiteY16" fmla="*/ 1003300 h 1003300"/>
                <a:gd name="connsiteX17" fmla="*/ 286499 w 562724"/>
                <a:gd name="connsiteY17" fmla="*/ 1003300 h 1003300"/>
                <a:gd name="connsiteX18" fmla="*/ 280149 w 562724"/>
                <a:gd name="connsiteY18" fmla="*/ 676275 h 1003300"/>
                <a:gd name="connsiteX19" fmla="*/ 267449 w 562724"/>
                <a:gd name="connsiteY19" fmla="*/ 990600 h 1003300"/>
                <a:gd name="connsiteX20" fmla="*/ 137274 w 562724"/>
                <a:gd name="connsiteY20" fmla="*/ 987425 h 1003300"/>
                <a:gd name="connsiteX0" fmla="*/ 137423 w 562873"/>
                <a:gd name="connsiteY0" fmla="*/ 987425 h 1003300"/>
                <a:gd name="connsiteX1" fmla="*/ 137423 w 562873"/>
                <a:gd name="connsiteY1" fmla="*/ 669925 h 1003300"/>
                <a:gd name="connsiteX2" fmla="*/ 80273 w 562873"/>
                <a:gd name="connsiteY2" fmla="*/ 669925 h 1003300"/>
                <a:gd name="connsiteX3" fmla="*/ 134248 w 562873"/>
                <a:gd name="connsiteY3" fmla="*/ 377825 h 1003300"/>
                <a:gd name="connsiteX4" fmla="*/ 134248 w 562873"/>
                <a:gd name="connsiteY4" fmla="*/ 285750 h 1003300"/>
                <a:gd name="connsiteX5" fmla="*/ 96148 w 562873"/>
                <a:gd name="connsiteY5" fmla="*/ 438150 h 1003300"/>
                <a:gd name="connsiteX6" fmla="*/ 898 w 562873"/>
                <a:gd name="connsiteY6" fmla="*/ 438150 h 1003300"/>
                <a:gd name="connsiteX7" fmla="*/ 239023 w 562873"/>
                <a:gd name="connsiteY7" fmla="*/ 6350 h 1003300"/>
                <a:gd name="connsiteX8" fmla="*/ 270773 w 562873"/>
                <a:gd name="connsiteY8" fmla="*/ 41275 h 1003300"/>
                <a:gd name="connsiteX9" fmla="*/ 308873 w 562873"/>
                <a:gd name="connsiteY9" fmla="*/ 0 h 1003300"/>
                <a:gd name="connsiteX10" fmla="*/ 562873 w 562873"/>
                <a:gd name="connsiteY10" fmla="*/ 434975 h 1003300"/>
                <a:gd name="connsiteX11" fmla="*/ 464448 w 562873"/>
                <a:gd name="connsiteY11" fmla="*/ 434975 h 1003300"/>
                <a:gd name="connsiteX12" fmla="*/ 423173 w 562873"/>
                <a:gd name="connsiteY12" fmla="*/ 254000 h 1003300"/>
                <a:gd name="connsiteX13" fmla="*/ 429523 w 562873"/>
                <a:gd name="connsiteY13" fmla="*/ 390525 h 1003300"/>
                <a:gd name="connsiteX14" fmla="*/ 477148 w 562873"/>
                <a:gd name="connsiteY14" fmla="*/ 679450 h 1003300"/>
                <a:gd name="connsiteX15" fmla="*/ 413648 w 562873"/>
                <a:gd name="connsiteY15" fmla="*/ 679450 h 1003300"/>
                <a:gd name="connsiteX16" fmla="*/ 413648 w 562873"/>
                <a:gd name="connsiteY16" fmla="*/ 1003300 h 1003300"/>
                <a:gd name="connsiteX17" fmla="*/ 286648 w 562873"/>
                <a:gd name="connsiteY17" fmla="*/ 1003300 h 1003300"/>
                <a:gd name="connsiteX18" fmla="*/ 280298 w 562873"/>
                <a:gd name="connsiteY18" fmla="*/ 676275 h 1003300"/>
                <a:gd name="connsiteX19" fmla="*/ 267598 w 562873"/>
                <a:gd name="connsiteY19" fmla="*/ 990600 h 1003300"/>
                <a:gd name="connsiteX20" fmla="*/ 137423 w 562873"/>
                <a:gd name="connsiteY20" fmla="*/ 987425 h 1003300"/>
                <a:gd name="connsiteX0" fmla="*/ 137423 w 562873"/>
                <a:gd name="connsiteY0" fmla="*/ 981075 h 996950"/>
                <a:gd name="connsiteX1" fmla="*/ 137423 w 562873"/>
                <a:gd name="connsiteY1" fmla="*/ 663575 h 996950"/>
                <a:gd name="connsiteX2" fmla="*/ 80273 w 562873"/>
                <a:gd name="connsiteY2" fmla="*/ 663575 h 996950"/>
                <a:gd name="connsiteX3" fmla="*/ 134248 w 562873"/>
                <a:gd name="connsiteY3" fmla="*/ 371475 h 996950"/>
                <a:gd name="connsiteX4" fmla="*/ 134248 w 562873"/>
                <a:gd name="connsiteY4" fmla="*/ 279400 h 996950"/>
                <a:gd name="connsiteX5" fmla="*/ 96148 w 562873"/>
                <a:gd name="connsiteY5" fmla="*/ 431800 h 996950"/>
                <a:gd name="connsiteX6" fmla="*/ 898 w 562873"/>
                <a:gd name="connsiteY6" fmla="*/ 431800 h 996950"/>
                <a:gd name="connsiteX7" fmla="*/ 239023 w 562873"/>
                <a:gd name="connsiteY7" fmla="*/ 0 h 996950"/>
                <a:gd name="connsiteX8" fmla="*/ 270773 w 562873"/>
                <a:gd name="connsiteY8" fmla="*/ 34925 h 996950"/>
                <a:gd name="connsiteX9" fmla="*/ 311255 w 562873"/>
                <a:gd name="connsiteY9" fmla="*/ 3175 h 996950"/>
                <a:gd name="connsiteX10" fmla="*/ 562873 w 562873"/>
                <a:gd name="connsiteY10" fmla="*/ 428625 h 996950"/>
                <a:gd name="connsiteX11" fmla="*/ 464448 w 562873"/>
                <a:gd name="connsiteY11" fmla="*/ 428625 h 996950"/>
                <a:gd name="connsiteX12" fmla="*/ 423173 w 562873"/>
                <a:gd name="connsiteY12" fmla="*/ 247650 h 996950"/>
                <a:gd name="connsiteX13" fmla="*/ 429523 w 562873"/>
                <a:gd name="connsiteY13" fmla="*/ 384175 h 996950"/>
                <a:gd name="connsiteX14" fmla="*/ 477148 w 562873"/>
                <a:gd name="connsiteY14" fmla="*/ 673100 h 996950"/>
                <a:gd name="connsiteX15" fmla="*/ 413648 w 562873"/>
                <a:gd name="connsiteY15" fmla="*/ 673100 h 996950"/>
                <a:gd name="connsiteX16" fmla="*/ 413648 w 562873"/>
                <a:gd name="connsiteY16" fmla="*/ 996950 h 996950"/>
                <a:gd name="connsiteX17" fmla="*/ 286648 w 562873"/>
                <a:gd name="connsiteY17" fmla="*/ 996950 h 996950"/>
                <a:gd name="connsiteX18" fmla="*/ 280298 w 562873"/>
                <a:gd name="connsiteY18" fmla="*/ 669925 h 996950"/>
                <a:gd name="connsiteX19" fmla="*/ 267598 w 562873"/>
                <a:gd name="connsiteY19" fmla="*/ 984250 h 996950"/>
                <a:gd name="connsiteX20" fmla="*/ 137423 w 562873"/>
                <a:gd name="connsiteY20" fmla="*/ 981075 h 996950"/>
                <a:gd name="connsiteX0" fmla="*/ 137423 w 562873"/>
                <a:gd name="connsiteY0" fmla="*/ 981075 h 996950"/>
                <a:gd name="connsiteX1" fmla="*/ 137423 w 562873"/>
                <a:gd name="connsiteY1" fmla="*/ 663575 h 996950"/>
                <a:gd name="connsiteX2" fmla="*/ 80273 w 562873"/>
                <a:gd name="connsiteY2" fmla="*/ 663575 h 996950"/>
                <a:gd name="connsiteX3" fmla="*/ 134248 w 562873"/>
                <a:gd name="connsiteY3" fmla="*/ 371475 h 996950"/>
                <a:gd name="connsiteX4" fmla="*/ 134248 w 562873"/>
                <a:gd name="connsiteY4" fmla="*/ 279400 h 996950"/>
                <a:gd name="connsiteX5" fmla="*/ 96148 w 562873"/>
                <a:gd name="connsiteY5" fmla="*/ 431800 h 996950"/>
                <a:gd name="connsiteX6" fmla="*/ 898 w 562873"/>
                <a:gd name="connsiteY6" fmla="*/ 431800 h 996950"/>
                <a:gd name="connsiteX7" fmla="*/ 239023 w 562873"/>
                <a:gd name="connsiteY7" fmla="*/ 0 h 996950"/>
                <a:gd name="connsiteX8" fmla="*/ 270773 w 562873"/>
                <a:gd name="connsiteY8" fmla="*/ 34925 h 996950"/>
                <a:gd name="connsiteX9" fmla="*/ 311255 w 562873"/>
                <a:gd name="connsiteY9" fmla="*/ 3175 h 996950"/>
                <a:gd name="connsiteX10" fmla="*/ 562873 w 562873"/>
                <a:gd name="connsiteY10" fmla="*/ 428625 h 996950"/>
                <a:gd name="connsiteX11" fmla="*/ 464448 w 562873"/>
                <a:gd name="connsiteY11" fmla="*/ 428625 h 996950"/>
                <a:gd name="connsiteX12" fmla="*/ 423173 w 562873"/>
                <a:gd name="connsiteY12" fmla="*/ 247650 h 996950"/>
                <a:gd name="connsiteX13" fmla="*/ 429523 w 562873"/>
                <a:gd name="connsiteY13" fmla="*/ 384175 h 996950"/>
                <a:gd name="connsiteX14" fmla="*/ 477148 w 562873"/>
                <a:gd name="connsiteY14" fmla="*/ 673100 h 996950"/>
                <a:gd name="connsiteX15" fmla="*/ 413648 w 562873"/>
                <a:gd name="connsiteY15" fmla="*/ 673100 h 996950"/>
                <a:gd name="connsiteX16" fmla="*/ 413648 w 562873"/>
                <a:gd name="connsiteY16" fmla="*/ 996950 h 996950"/>
                <a:gd name="connsiteX17" fmla="*/ 286648 w 562873"/>
                <a:gd name="connsiteY17" fmla="*/ 996950 h 996950"/>
                <a:gd name="connsiteX18" fmla="*/ 280298 w 562873"/>
                <a:gd name="connsiteY18" fmla="*/ 669925 h 996950"/>
                <a:gd name="connsiteX19" fmla="*/ 267598 w 562873"/>
                <a:gd name="connsiteY19" fmla="*/ 984250 h 996950"/>
                <a:gd name="connsiteX20" fmla="*/ 137423 w 562873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9523 w 563209"/>
                <a:gd name="connsiteY13" fmla="*/ 384175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9523 w 563209"/>
                <a:gd name="connsiteY13" fmla="*/ 384175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9523 w 563209"/>
                <a:gd name="connsiteY13" fmla="*/ 384175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9523 w 563209"/>
                <a:gd name="connsiteY13" fmla="*/ 384175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9523 w 563209"/>
                <a:gd name="connsiteY13" fmla="*/ 384175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9523 w 563209"/>
                <a:gd name="connsiteY13" fmla="*/ 384175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9523 w 563209"/>
                <a:gd name="connsiteY13" fmla="*/ 384175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9523 w 563209"/>
                <a:gd name="connsiteY13" fmla="*/ 384175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4760 w 563209"/>
                <a:gd name="connsiteY13" fmla="*/ 369888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1022359"/>
                <a:gd name="connsiteX1" fmla="*/ 137423 w 563209"/>
                <a:gd name="connsiteY1" fmla="*/ 663575 h 1022359"/>
                <a:gd name="connsiteX2" fmla="*/ 80273 w 563209"/>
                <a:gd name="connsiteY2" fmla="*/ 663575 h 1022359"/>
                <a:gd name="connsiteX3" fmla="*/ 134248 w 563209"/>
                <a:gd name="connsiteY3" fmla="*/ 371475 h 1022359"/>
                <a:gd name="connsiteX4" fmla="*/ 134248 w 563209"/>
                <a:gd name="connsiteY4" fmla="*/ 279400 h 1022359"/>
                <a:gd name="connsiteX5" fmla="*/ 96148 w 563209"/>
                <a:gd name="connsiteY5" fmla="*/ 431800 h 1022359"/>
                <a:gd name="connsiteX6" fmla="*/ 898 w 563209"/>
                <a:gd name="connsiteY6" fmla="*/ 431800 h 1022359"/>
                <a:gd name="connsiteX7" fmla="*/ 239023 w 563209"/>
                <a:gd name="connsiteY7" fmla="*/ 0 h 1022359"/>
                <a:gd name="connsiteX8" fmla="*/ 270773 w 563209"/>
                <a:gd name="connsiteY8" fmla="*/ 34925 h 1022359"/>
                <a:gd name="connsiteX9" fmla="*/ 311255 w 563209"/>
                <a:gd name="connsiteY9" fmla="*/ 3175 h 1022359"/>
                <a:gd name="connsiteX10" fmla="*/ 562873 w 563209"/>
                <a:gd name="connsiteY10" fmla="*/ 428625 h 1022359"/>
                <a:gd name="connsiteX11" fmla="*/ 464448 w 563209"/>
                <a:gd name="connsiteY11" fmla="*/ 428625 h 1022359"/>
                <a:gd name="connsiteX12" fmla="*/ 423173 w 563209"/>
                <a:gd name="connsiteY12" fmla="*/ 247650 h 1022359"/>
                <a:gd name="connsiteX13" fmla="*/ 424760 w 563209"/>
                <a:gd name="connsiteY13" fmla="*/ 369888 h 1022359"/>
                <a:gd name="connsiteX14" fmla="*/ 477148 w 563209"/>
                <a:gd name="connsiteY14" fmla="*/ 673100 h 1022359"/>
                <a:gd name="connsiteX15" fmla="*/ 413648 w 563209"/>
                <a:gd name="connsiteY15" fmla="*/ 673100 h 1022359"/>
                <a:gd name="connsiteX16" fmla="*/ 413648 w 563209"/>
                <a:gd name="connsiteY16" fmla="*/ 996950 h 1022359"/>
                <a:gd name="connsiteX17" fmla="*/ 286648 w 563209"/>
                <a:gd name="connsiteY17" fmla="*/ 996950 h 1022359"/>
                <a:gd name="connsiteX18" fmla="*/ 280298 w 563209"/>
                <a:gd name="connsiteY18" fmla="*/ 669925 h 1022359"/>
                <a:gd name="connsiteX19" fmla="*/ 267598 w 563209"/>
                <a:gd name="connsiteY19" fmla="*/ 984250 h 1022359"/>
                <a:gd name="connsiteX20" fmla="*/ 137423 w 563209"/>
                <a:gd name="connsiteY20" fmla="*/ 981075 h 1022359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80273 w 563209"/>
                <a:gd name="connsiteY2" fmla="*/ 663575 h 1042663"/>
                <a:gd name="connsiteX3" fmla="*/ 134248 w 563209"/>
                <a:gd name="connsiteY3" fmla="*/ 371475 h 1042663"/>
                <a:gd name="connsiteX4" fmla="*/ 134248 w 563209"/>
                <a:gd name="connsiteY4" fmla="*/ 279400 h 1042663"/>
                <a:gd name="connsiteX5" fmla="*/ 96148 w 563209"/>
                <a:gd name="connsiteY5" fmla="*/ 431800 h 1042663"/>
                <a:gd name="connsiteX6" fmla="*/ 898 w 563209"/>
                <a:gd name="connsiteY6" fmla="*/ 431800 h 1042663"/>
                <a:gd name="connsiteX7" fmla="*/ 239023 w 563209"/>
                <a:gd name="connsiteY7" fmla="*/ 0 h 1042663"/>
                <a:gd name="connsiteX8" fmla="*/ 270773 w 563209"/>
                <a:gd name="connsiteY8" fmla="*/ 34925 h 1042663"/>
                <a:gd name="connsiteX9" fmla="*/ 311255 w 563209"/>
                <a:gd name="connsiteY9" fmla="*/ 3175 h 1042663"/>
                <a:gd name="connsiteX10" fmla="*/ 562873 w 563209"/>
                <a:gd name="connsiteY10" fmla="*/ 428625 h 1042663"/>
                <a:gd name="connsiteX11" fmla="*/ 464448 w 563209"/>
                <a:gd name="connsiteY11" fmla="*/ 428625 h 1042663"/>
                <a:gd name="connsiteX12" fmla="*/ 423173 w 563209"/>
                <a:gd name="connsiteY12" fmla="*/ 247650 h 1042663"/>
                <a:gd name="connsiteX13" fmla="*/ 424760 w 563209"/>
                <a:gd name="connsiteY13" fmla="*/ 369888 h 1042663"/>
                <a:gd name="connsiteX14" fmla="*/ 477148 w 563209"/>
                <a:gd name="connsiteY14" fmla="*/ 673100 h 1042663"/>
                <a:gd name="connsiteX15" fmla="*/ 413648 w 563209"/>
                <a:gd name="connsiteY15" fmla="*/ 673100 h 1042663"/>
                <a:gd name="connsiteX16" fmla="*/ 413648 w 563209"/>
                <a:gd name="connsiteY16" fmla="*/ 996950 h 1042663"/>
                <a:gd name="connsiteX17" fmla="*/ 286648 w 563209"/>
                <a:gd name="connsiteY17" fmla="*/ 996950 h 1042663"/>
                <a:gd name="connsiteX18" fmla="*/ 280298 w 563209"/>
                <a:gd name="connsiteY18" fmla="*/ 669925 h 1042663"/>
                <a:gd name="connsiteX19" fmla="*/ 267598 w 563209"/>
                <a:gd name="connsiteY19" fmla="*/ 984250 h 1042663"/>
                <a:gd name="connsiteX20" fmla="*/ 137423 w 563209"/>
                <a:gd name="connsiteY20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80273 w 563209"/>
                <a:gd name="connsiteY2" fmla="*/ 663575 h 1042663"/>
                <a:gd name="connsiteX3" fmla="*/ 134248 w 563209"/>
                <a:gd name="connsiteY3" fmla="*/ 371475 h 1042663"/>
                <a:gd name="connsiteX4" fmla="*/ 134248 w 563209"/>
                <a:gd name="connsiteY4" fmla="*/ 279400 h 1042663"/>
                <a:gd name="connsiteX5" fmla="*/ 96148 w 563209"/>
                <a:gd name="connsiteY5" fmla="*/ 431800 h 1042663"/>
                <a:gd name="connsiteX6" fmla="*/ 898 w 563209"/>
                <a:gd name="connsiteY6" fmla="*/ 431800 h 1042663"/>
                <a:gd name="connsiteX7" fmla="*/ 239023 w 563209"/>
                <a:gd name="connsiteY7" fmla="*/ 0 h 1042663"/>
                <a:gd name="connsiteX8" fmla="*/ 270773 w 563209"/>
                <a:gd name="connsiteY8" fmla="*/ 34925 h 1042663"/>
                <a:gd name="connsiteX9" fmla="*/ 311255 w 563209"/>
                <a:gd name="connsiteY9" fmla="*/ 3175 h 1042663"/>
                <a:gd name="connsiteX10" fmla="*/ 562873 w 563209"/>
                <a:gd name="connsiteY10" fmla="*/ 428625 h 1042663"/>
                <a:gd name="connsiteX11" fmla="*/ 464448 w 563209"/>
                <a:gd name="connsiteY11" fmla="*/ 428625 h 1042663"/>
                <a:gd name="connsiteX12" fmla="*/ 423173 w 563209"/>
                <a:gd name="connsiteY12" fmla="*/ 247650 h 1042663"/>
                <a:gd name="connsiteX13" fmla="*/ 424760 w 563209"/>
                <a:gd name="connsiteY13" fmla="*/ 369888 h 1042663"/>
                <a:gd name="connsiteX14" fmla="*/ 477148 w 563209"/>
                <a:gd name="connsiteY14" fmla="*/ 673100 h 1042663"/>
                <a:gd name="connsiteX15" fmla="*/ 413648 w 563209"/>
                <a:gd name="connsiteY15" fmla="*/ 673100 h 1042663"/>
                <a:gd name="connsiteX16" fmla="*/ 413648 w 563209"/>
                <a:gd name="connsiteY16" fmla="*/ 996950 h 1042663"/>
                <a:gd name="connsiteX17" fmla="*/ 286648 w 563209"/>
                <a:gd name="connsiteY17" fmla="*/ 996950 h 1042663"/>
                <a:gd name="connsiteX18" fmla="*/ 280298 w 563209"/>
                <a:gd name="connsiteY18" fmla="*/ 669925 h 1042663"/>
                <a:gd name="connsiteX19" fmla="*/ 267598 w 563209"/>
                <a:gd name="connsiteY19" fmla="*/ 984250 h 1042663"/>
                <a:gd name="connsiteX20" fmla="*/ 137423 w 563209"/>
                <a:gd name="connsiteY20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80273 w 563209"/>
                <a:gd name="connsiteY2" fmla="*/ 663575 h 1042663"/>
                <a:gd name="connsiteX3" fmla="*/ 134248 w 563209"/>
                <a:gd name="connsiteY3" fmla="*/ 371475 h 1042663"/>
                <a:gd name="connsiteX4" fmla="*/ 134248 w 563209"/>
                <a:gd name="connsiteY4" fmla="*/ 279400 h 1042663"/>
                <a:gd name="connsiteX5" fmla="*/ 96148 w 563209"/>
                <a:gd name="connsiteY5" fmla="*/ 431800 h 1042663"/>
                <a:gd name="connsiteX6" fmla="*/ 898 w 563209"/>
                <a:gd name="connsiteY6" fmla="*/ 431800 h 1042663"/>
                <a:gd name="connsiteX7" fmla="*/ 239023 w 563209"/>
                <a:gd name="connsiteY7" fmla="*/ 0 h 1042663"/>
                <a:gd name="connsiteX8" fmla="*/ 270773 w 563209"/>
                <a:gd name="connsiteY8" fmla="*/ 34925 h 1042663"/>
                <a:gd name="connsiteX9" fmla="*/ 311255 w 563209"/>
                <a:gd name="connsiteY9" fmla="*/ 3175 h 1042663"/>
                <a:gd name="connsiteX10" fmla="*/ 562873 w 563209"/>
                <a:gd name="connsiteY10" fmla="*/ 428625 h 1042663"/>
                <a:gd name="connsiteX11" fmla="*/ 464448 w 563209"/>
                <a:gd name="connsiteY11" fmla="*/ 428625 h 1042663"/>
                <a:gd name="connsiteX12" fmla="*/ 423173 w 563209"/>
                <a:gd name="connsiteY12" fmla="*/ 247650 h 1042663"/>
                <a:gd name="connsiteX13" fmla="*/ 424760 w 563209"/>
                <a:gd name="connsiteY13" fmla="*/ 369888 h 1042663"/>
                <a:gd name="connsiteX14" fmla="*/ 477148 w 563209"/>
                <a:gd name="connsiteY14" fmla="*/ 673100 h 1042663"/>
                <a:gd name="connsiteX15" fmla="*/ 413648 w 563209"/>
                <a:gd name="connsiteY15" fmla="*/ 673100 h 1042663"/>
                <a:gd name="connsiteX16" fmla="*/ 413648 w 563209"/>
                <a:gd name="connsiteY16" fmla="*/ 996950 h 1042663"/>
                <a:gd name="connsiteX17" fmla="*/ 286648 w 563209"/>
                <a:gd name="connsiteY17" fmla="*/ 996950 h 1042663"/>
                <a:gd name="connsiteX18" fmla="*/ 280298 w 563209"/>
                <a:gd name="connsiteY18" fmla="*/ 669925 h 1042663"/>
                <a:gd name="connsiteX19" fmla="*/ 267598 w 563209"/>
                <a:gd name="connsiteY19" fmla="*/ 984250 h 1042663"/>
                <a:gd name="connsiteX20" fmla="*/ 137423 w 563209"/>
                <a:gd name="connsiteY20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80273 w 563209"/>
                <a:gd name="connsiteY2" fmla="*/ 663575 h 1042663"/>
                <a:gd name="connsiteX3" fmla="*/ 134248 w 563209"/>
                <a:gd name="connsiteY3" fmla="*/ 371475 h 1042663"/>
                <a:gd name="connsiteX4" fmla="*/ 134248 w 563209"/>
                <a:gd name="connsiteY4" fmla="*/ 279400 h 1042663"/>
                <a:gd name="connsiteX5" fmla="*/ 96148 w 563209"/>
                <a:gd name="connsiteY5" fmla="*/ 431800 h 1042663"/>
                <a:gd name="connsiteX6" fmla="*/ 898 w 563209"/>
                <a:gd name="connsiteY6" fmla="*/ 431800 h 1042663"/>
                <a:gd name="connsiteX7" fmla="*/ 239023 w 563209"/>
                <a:gd name="connsiteY7" fmla="*/ 0 h 1042663"/>
                <a:gd name="connsiteX8" fmla="*/ 270773 w 563209"/>
                <a:gd name="connsiteY8" fmla="*/ 34925 h 1042663"/>
                <a:gd name="connsiteX9" fmla="*/ 311255 w 563209"/>
                <a:gd name="connsiteY9" fmla="*/ 3175 h 1042663"/>
                <a:gd name="connsiteX10" fmla="*/ 562873 w 563209"/>
                <a:gd name="connsiteY10" fmla="*/ 428625 h 1042663"/>
                <a:gd name="connsiteX11" fmla="*/ 464448 w 563209"/>
                <a:gd name="connsiteY11" fmla="*/ 428625 h 1042663"/>
                <a:gd name="connsiteX12" fmla="*/ 423173 w 563209"/>
                <a:gd name="connsiteY12" fmla="*/ 247650 h 1042663"/>
                <a:gd name="connsiteX13" fmla="*/ 424760 w 563209"/>
                <a:gd name="connsiteY13" fmla="*/ 369888 h 1042663"/>
                <a:gd name="connsiteX14" fmla="*/ 477148 w 563209"/>
                <a:gd name="connsiteY14" fmla="*/ 673100 h 1042663"/>
                <a:gd name="connsiteX15" fmla="*/ 413648 w 563209"/>
                <a:gd name="connsiteY15" fmla="*/ 673100 h 1042663"/>
                <a:gd name="connsiteX16" fmla="*/ 413648 w 563209"/>
                <a:gd name="connsiteY16" fmla="*/ 996950 h 1042663"/>
                <a:gd name="connsiteX17" fmla="*/ 286648 w 563209"/>
                <a:gd name="connsiteY17" fmla="*/ 996950 h 1042663"/>
                <a:gd name="connsiteX18" fmla="*/ 280298 w 563209"/>
                <a:gd name="connsiteY18" fmla="*/ 669925 h 1042663"/>
                <a:gd name="connsiteX19" fmla="*/ 267598 w 563209"/>
                <a:gd name="connsiteY19" fmla="*/ 984250 h 1042663"/>
                <a:gd name="connsiteX20" fmla="*/ 137423 w 563209"/>
                <a:gd name="connsiteY20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80273 w 563209"/>
                <a:gd name="connsiteY2" fmla="*/ 663575 h 1042663"/>
                <a:gd name="connsiteX3" fmla="*/ 134248 w 563209"/>
                <a:gd name="connsiteY3" fmla="*/ 371475 h 1042663"/>
                <a:gd name="connsiteX4" fmla="*/ 134248 w 563209"/>
                <a:gd name="connsiteY4" fmla="*/ 279400 h 1042663"/>
                <a:gd name="connsiteX5" fmla="*/ 96148 w 563209"/>
                <a:gd name="connsiteY5" fmla="*/ 431800 h 1042663"/>
                <a:gd name="connsiteX6" fmla="*/ 898 w 563209"/>
                <a:gd name="connsiteY6" fmla="*/ 431800 h 1042663"/>
                <a:gd name="connsiteX7" fmla="*/ 239023 w 563209"/>
                <a:gd name="connsiteY7" fmla="*/ 0 h 1042663"/>
                <a:gd name="connsiteX8" fmla="*/ 270773 w 563209"/>
                <a:gd name="connsiteY8" fmla="*/ 34925 h 1042663"/>
                <a:gd name="connsiteX9" fmla="*/ 311255 w 563209"/>
                <a:gd name="connsiteY9" fmla="*/ 3175 h 1042663"/>
                <a:gd name="connsiteX10" fmla="*/ 562873 w 563209"/>
                <a:gd name="connsiteY10" fmla="*/ 428625 h 1042663"/>
                <a:gd name="connsiteX11" fmla="*/ 464448 w 563209"/>
                <a:gd name="connsiteY11" fmla="*/ 428625 h 1042663"/>
                <a:gd name="connsiteX12" fmla="*/ 423173 w 563209"/>
                <a:gd name="connsiteY12" fmla="*/ 247650 h 1042663"/>
                <a:gd name="connsiteX13" fmla="*/ 424760 w 563209"/>
                <a:gd name="connsiteY13" fmla="*/ 369888 h 1042663"/>
                <a:gd name="connsiteX14" fmla="*/ 477148 w 563209"/>
                <a:gd name="connsiteY14" fmla="*/ 673100 h 1042663"/>
                <a:gd name="connsiteX15" fmla="*/ 413648 w 563209"/>
                <a:gd name="connsiteY15" fmla="*/ 673100 h 1042663"/>
                <a:gd name="connsiteX16" fmla="*/ 413648 w 563209"/>
                <a:gd name="connsiteY16" fmla="*/ 996950 h 1042663"/>
                <a:gd name="connsiteX17" fmla="*/ 286648 w 563209"/>
                <a:gd name="connsiteY17" fmla="*/ 996950 h 1042663"/>
                <a:gd name="connsiteX18" fmla="*/ 280298 w 563209"/>
                <a:gd name="connsiteY18" fmla="*/ 669925 h 1042663"/>
                <a:gd name="connsiteX19" fmla="*/ 267598 w 563209"/>
                <a:gd name="connsiteY19" fmla="*/ 984250 h 1042663"/>
                <a:gd name="connsiteX20" fmla="*/ 137423 w 563209"/>
                <a:gd name="connsiteY20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134248 w 563209"/>
                <a:gd name="connsiteY2" fmla="*/ 371475 h 1042663"/>
                <a:gd name="connsiteX3" fmla="*/ 134248 w 563209"/>
                <a:gd name="connsiteY3" fmla="*/ 279400 h 1042663"/>
                <a:gd name="connsiteX4" fmla="*/ 96148 w 563209"/>
                <a:gd name="connsiteY4" fmla="*/ 431800 h 1042663"/>
                <a:gd name="connsiteX5" fmla="*/ 898 w 563209"/>
                <a:gd name="connsiteY5" fmla="*/ 431800 h 1042663"/>
                <a:gd name="connsiteX6" fmla="*/ 239023 w 563209"/>
                <a:gd name="connsiteY6" fmla="*/ 0 h 1042663"/>
                <a:gd name="connsiteX7" fmla="*/ 270773 w 563209"/>
                <a:gd name="connsiteY7" fmla="*/ 34925 h 1042663"/>
                <a:gd name="connsiteX8" fmla="*/ 311255 w 563209"/>
                <a:gd name="connsiteY8" fmla="*/ 3175 h 1042663"/>
                <a:gd name="connsiteX9" fmla="*/ 562873 w 563209"/>
                <a:gd name="connsiteY9" fmla="*/ 428625 h 1042663"/>
                <a:gd name="connsiteX10" fmla="*/ 464448 w 563209"/>
                <a:gd name="connsiteY10" fmla="*/ 428625 h 1042663"/>
                <a:gd name="connsiteX11" fmla="*/ 423173 w 563209"/>
                <a:gd name="connsiteY11" fmla="*/ 247650 h 1042663"/>
                <a:gd name="connsiteX12" fmla="*/ 424760 w 563209"/>
                <a:gd name="connsiteY12" fmla="*/ 369888 h 1042663"/>
                <a:gd name="connsiteX13" fmla="*/ 477148 w 563209"/>
                <a:gd name="connsiteY13" fmla="*/ 673100 h 1042663"/>
                <a:gd name="connsiteX14" fmla="*/ 413648 w 563209"/>
                <a:gd name="connsiteY14" fmla="*/ 673100 h 1042663"/>
                <a:gd name="connsiteX15" fmla="*/ 413648 w 563209"/>
                <a:gd name="connsiteY15" fmla="*/ 996950 h 1042663"/>
                <a:gd name="connsiteX16" fmla="*/ 286648 w 563209"/>
                <a:gd name="connsiteY16" fmla="*/ 996950 h 1042663"/>
                <a:gd name="connsiteX17" fmla="*/ 280298 w 563209"/>
                <a:gd name="connsiteY17" fmla="*/ 669925 h 1042663"/>
                <a:gd name="connsiteX18" fmla="*/ 267598 w 563209"/>
                <a:gd name="connsiteY18" fmla="*/ 984250 h 1042663"/>
                <a:gd name="connsiteX19" fmla="*/ 137423 w 563209"/>
                <a:gd name="connsiteY19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141392 w 563209"/>
                <a:gd name="connsiteY2" fmla="*/ 473869 h 1042663"/>
                <a:gd name="connsiteX3" fmla="*/ 134248 w 563209"/>
                <a:gd name="connsiteY3" fmla="*/ 279400 h 1042663"/>
                <a:gd name="connsiteX4" fmla="*/ 96148 w 563209"/>
                <a:gd name="connsiteY4" fmla="*/ 431800 h 1042663"/>
                <a:gd name="connsiteX5" fmla="*/ 898 w 563209"/>
                <a:gd name="connsiteY5" fmla="*/ 431800 h 1042663"/>
                <a:gd name="connsiteX6" fmla="*/ 239023 w 563209"/>
                <a:gd name="connsiteY6" fmla="*/ 0 h 1042663"/>
                <a:gd name="connsiteX7" fmla="*/ 270773 w 563209"/>
                <a:gd name="connsiteY7" fmla="*/ 34925 h 1042663"/>
                <a:gd name="connsiteX8" fmla="*/ 311255 w 563209"/>
                <a:gd name="connsiteY8" fmla="*/ 3175 h 1042663"/>
                <a:gd name="connsiteX9" fmla="*/ 562873 w 563209"/>
                <a:gd name="connsiteY9" fmla="*/ 428625 h 1042663"/>
                <a:gd name="connsiteX10" fmla="*/ 464448 w 563209"/>
                <a:gd name="connsiteY10" fmla="*/ 428625 h 1042663"/>
                <a:gd name="connsiteX11" fmla="*/ 423173 w 563209"/>
                <a:gd name="connsiteY11" fmla="*/ 247650 h 1042663"/>
                <a:gd name="connsiteX12" fmla="*/ 424760 w 563209"/>
                <a:gd name="connsiteY12" fmla="*/ 369888 h 1042663"/>
                <a:gd name="connsiteX13" fmla="*/ 477148 w 563209"/>
                <a:gd name="connsiteY13" fmla="*/ 673100 h 1042663"/>
                <a:gd name="connsiteX14" fmla="*/ 413648 w 563209"/>
                <a:gd name="connsiteY14" fmla="*/ 673100 h 1042663"/>
                <a:gd name="connsiteX15" fmla="*/ 413648 w 563209"/>
                <a:gd name="connsiteY15" fmla="*/ 996950 h 1042663"/>
                <a:gd name="connsiteX16" fmla="*/ 286648 w 563209"/>
                <a:gd name="connsiteY16" fmla="*/ 996950 h 1042663"/>
                <a:gd name="connsiteX17" fmla="*/ 280298 w 563209"/>
                <a:gd name="connsiteY17" fmla="*/ 669925 h 1042663"/>
                <a:gd name="connsiteX18" fmla="*/ 267598 w 563209"/>
                <a:gd name="connsiteY18" fmla="*/ 984250 h 1042663"/>
                <a:gd name="connsiteX19" fmla="*/ 137423 w 563209"/>
                <a:gd name="connsiteY19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141392 w 563209"/>
                <a:gd name="connsiteY2" fmla="*/ 473869 h 1042663"/>
                <a:gd name="connsiteX3" fmla="*/ 134248 w 563209"/>
                <a:gd name="connsiteY3" fmla="*/ 279400 h 1042663"/>
                <a:gd name="connsiteX4" fmla="*/ 96148 w 563209"/>
                <a:gd name="connsiteY4" fmla="*/ 431800 h 1042663"/>
                <a:gd name="connsiteX5" fmla="*/ 898 w 563209"/>
                <a:gd name="connsiteY5" fmla="*/ 431800 h 1042663"/>
                <a:gd name="connsiteX6" fmla="*/ 239023 w 563209"/>
                <a:gd name="connsiteY6" fmla="*/ 0 h 1042663"/>
                <a:gd name="connsiteX7" fmla="*/ 270773 w 563209"/>
                <a:gd name="connsiteY7" fmla="*/ 34925 h 1042663"/>
                <a:gd name="connsiteX8" fmla="*/ 311255 w 563209"/>
                <a:gd name="connsiteY8" fmla="*/ 3175 h 1042663"/>
                <a:gd name="connsiteX9" fmla="*/ 562873 w 563209"/>
                <a:gd name="connsiteY9" fmla="*/ 428625 h 1042663"/>
                <a:gd name="connsiteX10" fmla="*/ 464448 w 563209"/>
                <a:gd name="connsiteY10" fmla="*/ 428625 h 1042663"/>
                <a:gd name="connsiteX11" fmla="*/ 423173 w 563209"/>
                <a:gd name="connsiteY11" fmla="*/ 247650 h 1042663"/>
                <a:gd name="connsiteX12" fmla="*/ 424760 w 563209"/>
                <a:gd name="connsiteY12" fmla="*/ 369888 h 1042663"/>
                <a:gd name="connsiteX13" fmla="*/ 477148 w 563209"/>
                <a:gd name="connsiteY13" fmla="*/ 673100 h 1042663"/>
                <a:gd name="connsiteX14" fmla="*/ 413648 w 563209"/>
                <a:gd name="connsiteY14" fmla="*/ 673100 h 1042663"/>
                <a:gd name="connsiteX15" fmla="*/ 413648 w 563209"/>
                <a:gd name="connsiteY15" fmla="*/ 996950 h 1042663"/>
                <a:gd name="connsiteX16" fmla="*/ 286648 w 563209"/>
                <a:gd name="connsiteY16" fmla="*/ 996950 h 1042663"/>
                <a:gd name="connsiteX17" fmla="*/ 280298 w 563209"/>
                <a:gd name="connsiteY17" fmla="*/ 669925 h 1042663"/>
                <a:gd name="connsiteX18" fmla="*/ 267598 w 563209"/>
                <a:gd name="connsiteY18" fmla="*/ 984250 h 1042663"/>
                <a:gd name="connsiteX19" fmla="*/ 137423 w 563209"/>
                <a:gd name="connsiteY19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141392 w 563209"/>
                <a:gd name="connsiteY2" fmla="*/ 473869 h 1042663"/>
                <a:gd name="connsiteX3" fmla="*/ 134248 w 563209"/>
                <a:gd name="connsiteY3" fmla="*/ 279400 h 1042663"/>
                <a:gd name="connsiteX4" fmla="*/ 96148 w 563209"/>
                <a:gd name="connsiteY4" fmla="*/ 431800 h 1042663"/>
                <a:gd name="connsiteX5" fmla="*/ 898 w 563209"/>
                <a:gd name="connsiteY5" fmla="*/ 431800 h 1042663"/>
                <a:gd name="connsiteX6" fmla="*/ 239023 w 563209"/>
                <a:gd name="connsiteY6" fmla="*/ 0 h 1042663"/>
                <a:gd name="connsiteX7" fmla="*/ 270773 w 563209"/>
                <a:gd name="connsiteY7" fmla="*/ 34925 h 1042663"/>
                <a:gd name="connsiteX8" fmla="*/ 311255 w 563209"/>
                <a:gd name="connsiteY8" fmla="*/ 3175 h 1042663"/>
                <a:gd name="connsiteX9" fmla="*/ 562873 w 563209"/>
                <a:gd name="connsiteY9" fmla="*/ 428625 h 1042663"/>
                <a:gd name="connsiteX10" fmla="*/ 464448 w 563209"/>
                <a:gd name="connsiteY10" fmla="*/ 428625 h 1042663"/>
                <a:gd name="connsiteX11" fmla="*/ 423173 w 563209"/>
                <a:gd name="connsiteY11" fmla="*/ 247650 h 1042663"/>
                <a:gd name="connsiteX12" fmla="*/ 419998 w 563209"/>
                <a:gd name="connsiteY12" fmla="*/ 465138 h 1042663"/>
                <a:gd name="connsiteX13" fmla="*/ 477148 w 563209"/>
                <a:gd name="connsiteY13" fmla="*/ 673100 h 1042663"/>
                <a:gd name="connsiteX14" fmla="*/ 413648 w 563209"/>
                <a:gd name="connsiteY14" fmla="*/ 673100 h 1042663"/>
                <a:gd name="connsiteX15" fmla="*/ 413648 w 563209"/>
                <a:gd name="connsiteY15" fmla="*/ 996950 h 1042663"/>
                <a:gd name="connsiteX16" fmla="*/ 286648 w 563209"/>
                <a:gd name="connsiteY16" fmla="*/ 996950 h 1042663"/>
                <a:gd name="connsiteX17" fmla="*/ 280298 w 563209"/>
                <a:gd name="connsiteY17" fmla="*/ 669925 h 1042663"/>
                <a:gd name="connsiteX18" fmla="*/ 267598 w 563209"/>
                <a:gd name="connsiteY18" fmla="*/ 984250 h 1042663"/>
                <a:gd name="connsiteX19" fmla="*/ 137423 w 563209"/>
                <a:gd name="connsiteY19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141392 w 563209"/>
                <a:gd name="connsiteY2" fmla="*/ 473869 h 1042663"/>
                <a:gd name="connsiteX3" fmla="*/ 134248 w 563209"/>
                <a:gd name="connsiteY3" fmla="*/ 279400 h 1042663"/>
                <a:gd name="connsiteX4" fmla="*/ 96148 w 563209"/>
                <a:gd name="connsiteY4" fmla="*/ 431800 h 1042663"/>
                <a:gd name="connsiteX5" fmla="*/ 898 w 563209"/>
                <a:gd name="connsiteY5" fmla="*/ 431800 h 1042663"/>
                <a:gd name="connsiteX6" fmla="*/ 239023 w 563209"/>
                <a:gd name="connsiteY6" fmla="*/ 0 h 1042663"/>
                <a:gd name="connsiteX7" fmla="*/ 270773 w 563209"/>
                <a:gd name="connsiteY7" fmla="*/ 34925 h 1042663"/>
                <a:gd name="connsiteX8" fmla="*/ 311255 w 563209"/>
                <a:gd name="connsiteY8" fmla="*/ 3175 h 1042663"/>
                <a:gd name="connsiteX9" fmla="*/ 562873 w 563209"/>
                <a:gd name="connsiteY9" fmla="*/ 428625 h 1042663"/>
                <a:gd name="connsiteX10" fmla="*/ 464448 w 563209"/>
                <a:gd name="connsiteY10" fmla="*/ 428625 h 1042663"/>
                <a:gd name="connsiteX11" fmla="*/ 423173 w 563209"/>
                <a:gd name="connsiteY11" fmla="*/ 247650 h 1042663"/>
                <a:gd name="connsiteX12" fmla="*/ 419998 w 563209"/>
                <a:gd name="connsiteY12" fmla="*/ 465138 h 1042663"/>
                <a:gd name="connsiteX13" fmla="*/ 477148 w 563209"/>
                <a:gd name="connsiteY13" fmla="*/ 673100 h 1042663"/>
                <a:gd name="connsiteX14" fmla="*/ 413648 w 563209"/>
                <a:gd name="connsiteY14" fmla="*/ 673100 h 1042663"/>
                <a:gd name="connsiteX15" fmla="*/ 413648 w 563209"/>
                <a:gd name="connsiteY15" fmla="*/ 996950 h 1042663"/>
                <a:gd name="connsiteX16" fmla="*/ 286648 w 563209"/>
                <a:gd name="connsiteY16" fmla="*/ 996950 h 1042663"/>
                <a:gd name="connsiteX17" fmla="*/ 280298 w 563209"/>
                <a:gd name="connsiteY17" fmla="*/ 669925 h 1042663"/>
                <a:gd name="connsiteX18" fmla="*/ 267598 w 563209"/>
                <a:gd name="connsiteY18" fmla="*/ 984250 h 1042663"/>
                <a:gd name="connsiteX19" fmla="*/ 137423 w 563209"/>
                <a:gd name="connsiteY19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141392 w 563209"/>
                <a:gd name="connsiteY2" fmla="*/ 473869 h 1042663"/>
                <a:gd name="connsiteX3" fmla="*/ 134248 w 563209"/>
                <a:gd name="connsiteY3" fmla="*/ 279400 h 1042663"/>
                <a:gd name="connsiteX4" fmla="*/ 96148 w 563209"/>
                <a:gd name="connsiteY4" fmla="*/ 431800 h 1042663"/>
                <a:gd name="connsiteX5" fmla="*/ 898 w 563209"/>
                <a:gd name="connsiteY5" fmla="*/ 431800 h 1042663"/>
                <a:gd name="connsiteX6" fmla="*/ 239023 w 563209"/>
                <a:gd name="connsiteY6" fmla="*/ 0 h 1042663"/>
                <a:gd name="connsiteX7" fmla="*/ 270773 w 563209"/>
                <a:gd name="connsiteY7" fmla="*/ 34925 h 1042663"/>
                <a:gd name="connsiteX8" fmla="*/ 311255 w 563209"/>
                <a:gd name="connsiteY8" fmla="*/ 3175 h 1042663"/>
                <a:gd name="connsiteX9" fmla="*/ 562873 w 563209"/>
                <a:gd name="connsiteY9" fmla="*/ 428625 h 1042663"/>
                <a:gd name="connsiteX10" fmla="*/ 464448 w 563209"/>
                <a:gd name="connsiteY10" fmla="*/ 428625 h 1042663"/>
                <a:gd name="connsiteX11" fmla="*/ 423173 w 563209"/>
                <a:gd name="connsiteY11" fmla="*/ 247650 h 1042663"/>
                <a:gd name="connsiteX12" fmla="*/ 419998 w 563209"/>
                <a:gd name="connsiteY12" fmla="*/ 465138 h 1042663"/>
                <a:gd name="connsiteX13" fmla="*/ 413648 w 563209"/>
                <a:gd name="connsiteY13" fmla="*/ 673100 h 1042663"/>
                <a:gd name="connsiteX14" fmla="*/ 413648 w 563209"/>
                <a:gd name="connsiteY14" fmla="*/ 996950 h 1042663"/>
                <a:gd name="connsiteX15" fmla="*/ 286648 w 563209"/>
                <a:gd name="connsiteY15" fmla="*/ 996950 h 1042663"/>
                <a:gd name="connsiteX16" fmla="*/ 280298 w 563209"/>
                <a:gd name="connsiteY16" fmla="*/ 669925 h 1042663"/>
                <a:gd name="connsiteX17" fmla="*/ 267598 w 563209"/>
                <a:gd name="connsiteY17" fmla="*/ 984250 h 1042663"/>
                <a:gd name="connsiteX18" fmla="*/ 137423 w 563209"/>
                <a:gd name="connsiteY18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141392 w 563209"/>
                <a:gd name="connsiteY2" fmla="*/ 473869 h 1042663"/>
                <a:gd name="connsiteX3" fmla="*/ 134248 w 563209"/>
                <a:gd name="connsiteY3" fmla="*/ 279400 h 1042663"/>
                <a:gd name="connsiteX4" fmla="*/ 96148 w 563209"/>
                <a:gd name="connsiteY4" fmla="*/ 431800 h 1042663"/>
                <a:gd name="connsiteX5" fmla="*/ 898 w 563209"/>
                <a:gd name="connsiteY5" fmla="*/ 431800 h 1042663"/>
                <a:gd name="connsiteX6" fmla="*/ 239023 w 563209"/>
                <a:gd name="connsiteY6" fmla="*/ 0 h 1042663"/>
                <a:gd name="connsiteX7" fmla="*/ 270773 w 563209"/>
                <a:gd name="connsiteY7" fmla="*/ 34925 h 1042663"/>
                <a:gd name="connsiteX8" fmla="*/ 311255 w 563209"/>
                <a:gd name="connsiteY8" fmla="*/ 3175 h 1042663"/>
                <a:gd name="connsiteX9" fmla="*/ 562873 w 563209"/>
                <a:gd name="connsiteY9" fmla="*/ 428625 h 1042663"/>
                <a:gd name="connsiteX10" fmla="*/ 464448 w 563209"/>
                <a:gd name="connsiteY10" fmla="*/ 428625 h 1042663"/>
                <a:gd name="connsiteX11" fmla="*/ 423173 w 563209"/>
                <a:gd name="connsiteY11" fmla="*/ 247650 h 1042663"/>
                <a:gd name="connsiteX12" fmla="*/ 419998 w 563209"/>
                <a:gd name="connsiteY12" fmla="*/ 465138 h 1042663"/>
                <a:gd name="connsiteX13" fmla="*/ 413648 w 563209"/>
                <a:gd name="connsiteY13" fmla="*/ 673100 h 1042663"/>
                <a:gd name="connsiteX14" fmla="*/ 413648 w 563209"/>
                <a:gd name="connsiteY14" fmla="*/ 996950 h 1042663"/>
                <a:gd name="connsiteX15" fmla="*/ 286648 w 563209"/>
                <a:gd name="connsiteY15" fmla="*/ 996950 h 1042663"/>
                <a:gd name="connsiteX16" fmla="*/ 280298 w 563209"/>
                <a:gd name="connsiteY16" fmla="*/ 669925 h 1042663"/>
                <a:gd name="connsiteX17" fmla="*/ 267598 w 563209"/>
                <a:gd name="connsiteY17" fmla="*/ 984250 h 1042663"/>
                <a:gd name="connsiteX18" fmla="*/ 137423 w 563209"/>
                <a:gd name="connsiteY18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141392 w 563209"/>
                <a:gd name="connsiteY2" fmla="*/ 473869 h 1042663"/>
                <a:gd name="connsiteX3" fmla="*/ 134248 w 563209"/>
                <a:gd name="connsiteY3" fmla="*/ 279400 h 1042663"/>
                <a:gd name="connsiteX4" fmla="*/ 96148 w 563209"/>
                <a:gd name="connsiteY4" fmla="*/ 431800 h 1042663"/>
                <a:gd name="connsiteX5" fmla="*/ 898 w 563209"/>
                <a:gd name="connsiteY5" fmla="*/ 431800 h 1042663"/>
                <a:gd name="connsiteX6" fmla="*/ 239023 w 563209"/>
                <a:gd name="connsiteY6" fmla="*/ 0 h 1042663"/>
                <a:gd name="connsiteX7" fmla="*/ 270773 w 563209"/>
                <a:gd name="connsiteY7" fmla="*/ 34925 h 1042663"/>
                <a:gd name="connsiteX8" fmla="*/ 311255 w 563209"/>
                <a:gd name="connsiteY8" fmla="*/ 3175 h 1042663"/>
                <a:gd name="connsiteX9" fmla="*/ 562873 w 563209"/>
                <a:gd name="connsiteY9" fmla="*/ 428625 h 1042663"/>
                <a:gd name="connsiteX10" fmla="*/ 464448 w 563209"/>
                <a:gd name="connsiteY10" fmla="*/ 428625 h 1042663"/>
                <a:gd name="connsiteX11" fmla="*/ 423173 w 563209"/>
                <a:gd name="connsiteY11" fmla="*/ 247650 h 1042663"/>
                <a:gd name="connsiteX12" fmla="*/ 419998 w 563209"/>
                <a:gd name="connsiteY12" fmla="*/ 465138 h 1042663"/>
                <a:gd name="connsiteX13" fmla="*/ 406505 w 563209"/>
                <a:gd name="connsiteY13" fmla="*/ 682625 h 1042663"/>
                <a:gd name="connsiteX14" fmla="*/ 413648 w 563209"/>
                <a:gd name="connsiteY14" fmla="*/ 996950 h 1042663"/>
                <a:gd name="connsiteX15" fmla="*/ 286648 w 563209"/>
                <a:gd name="connsiteY15" fmla="*/ 996950 h 1042663"/>
                <a:gd name="connsiteX16" fmla="*/ 280298 w 563209"/>
                <a:gd name="connsiteY16" fmla="*/ 669925 h 1042663"/>
                <a:gd name="connsiteX17" fmla="*/ 267598 w 563209"/>
                <a:gd name="connsiteY17" fmla="*/ 984250 h 1042663"/>
                <a:gd name="connsiteX18" fmla="*/ 137423 w 563209"/>
                <a:gd name="connsiteY18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141392 w 563209"/>
                <a:gd name="connsiteY2" fmla="*/ 473869 h 1042663"/>
                <a:gd name="connsiteX3" fmla="*/ 134248 w 563209"/>
                <a:gd name="connsiteY3" fmla="*/ 279400 h 1042663"/>
                <a:gd name="connsiteX4" fmla="*/ 96148 w 563209"/>
                <a:gd name="connsiteY4" fmla="*/ 431800 h 1042663"/>
                <a:gd name="connsiteX5" fmla="*/ 898 w 563209"/>
                <a:gd name="connsiteY5" fmla="*/ 431800 h 1042663"/>
                <a:gd name="connsiteX6" fmla="*/ 239023 w 563209"/>
                <a:gd name="connsiteY6" fmla="*/ 0 h 1042663"/>
                <a:gd name="connsiteX7" fmla="*/ 270773 w 563209"/>
                <a:gd name="connsiteY7" fmla="*/ 34925 h 1042663"/>
                <a:gd name="connsiteX8" fmla="*/ 311255 w 563209"/>
                <a:gd name="connsiteY8" fmla="*/ 3175 h 1042663"/>
                <a:gd name="connsiteX9" fmla="*/ 562873 w 563209"/>
                <a:gd name="connsiteY9" fmla="*/ 428625 h 1042663"/>
                <a:gd name="connsiteX10" fmla="*/ 464448 w 563209"/>
                <a:gd name="connsiteY10" fmla="*/ 428625 h 1042663"/>
                <a:gd name="connsiteX11" fmla="*/ 423173 w 563209"/>
                <a:gd name="connsiteY11" fmla="*/ 247650 h 1042663"/>
                <a:gd name="connsiteX12" fmla="*/ 419998 w 563209"/>
                <a:gd name="connsiteY12" fmla="*/ 465138 h 1042663"/>
                <a:gd name="connsiteX13" fmla="*/ 406505 w 563209"/>
                <a:gd name="connsiteY13" fmla="*/ 682625 h 1042663"/>
                <a:gd name="connsiteX14" fmla="*/ 411267 w 563209"/>
                <a:gd name="connsiteY14" fmla="*/ 975519 h 1042663"/>
                <a:gd name="connsiteX15" fmla="*/ 286648 w 563209"/>
                <a:gd name="connsiteY15" fmla="*/ 996950 h 1042663"/>
                <a:gd name="connsiteX16" fmla="*/ 280298 w 563209"/>
                <a:gd name="connsiteY16" fmla="*/ 669925 h 1042663"/>
                <a:gd name="connsiteX17" fmla="*/ 267598 w 563209"/>
                <a:gd name="connsiteY17" fmla="*/ 984250 h 1042663"/>
                <a:gd name="connsiteX18" fmla="*/ 137423 w 563209"/>
                <a:gd name="connsiteY18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141392 w 563209"/>
                <a:gd name="connsiteY2" fmla="*/ 473869 h 1042663"/>
                <a:gd name="connsiteX3" fmla="*/ 134248 w 563209"/>
                <a:gd name="connsiteY3" fmla="*/ 279400 h 1042663"/>
                <a:gd name="connsiteX4" fmla="*/ 96148 w 563209"/>
                <a:gd name="connsiteY4" fmla="*/ 431800 h 1042663"/>
                <a:gd name="connsiteX5" fmla="*/ 898 w 563209"/>
                <a:gd name="connsiteY5" fmla="*/ 431800 h 1042663"/>
                <a:gd name="connsiteX6" fmla="*/ 239023 w 563209"/>
                <a:gd name="connsiteY6" fmla="*/ 0 h 1042663"/>
                <a:gd name="connsiteX7" fmla="*/ 270773 w 563209"/>
                <a:gd name="connsiteY7" fmla="*/ 34925 h 1042663"/>
                <a:gd name="connsiteX8" fmla="*/ 311255 w 563209"/>
                <a:gd name="connsiteY8" fmla="*/ 3175 h 1042663"/>
                <a:gd name="connsiteX9" fmla="*/ 562873 w 563209"/>
                <a:gd name="connsiteY9" fmla="*/ 428625 h 1042663"/>
                <a:gd name="connsiteX10" fmla="*/ 464448 w 563209"/>
                <a:gd name="connsiteY10" fmla="*/ 428625 h 1042663"/>
                <a:gd name="connsiteX11" fmla="*/ 423173 w 563209"/>
                <a:gd name="connsiteY11" fmla="*/ 247650 h 1042663"/>
                <a:gd name="connsiteX12" fmla="*/ 419998 w 563209"/>
                <a:gd name="connsiteY12" fmla="*/ 465138 h 1042663"/>
                <a:gd name="connsiteX13" fmla="*/ 406505 w 563209"/>
                <a:gd name="connsiteY13" fmla="*/ 682625 h 1042663"/>
                <a:gd name="connsiteX14" fmla="*/ 411267 w 563209"/>
                <a:gd name="connsiteY14" fmla="*/ 975519 h 1042663"/>
                <a:gd name="connsiteX15" fmla="*/ 289030 w 563209"/>
                <a:gd name="connsiteY15" fmla="*/ 980281 h 1042663"/>
                <a:gd name="connsiteX16" fmla="*/ 280298 w 563209"/>
                <a:gd name="connsiteY16" fmla="*/ 669925 h 1042663"/>
                <a:gd name="connsiteX17" fmla="*/ 267598 w 563209"/>
                <a:gd name="connsiteY17" fmla="*/ 984250 h 1042663"/>
                <a:gd name="connsiteX18" fmla="*/ 137423 w 563209"/>
                <a:gd name="connsiteY18" fmla="*/ 981075 h 1042663"/>
                <a:gd name="connsiteX0" fmla="*/ 137423 w 563209"/>
                <a:gd name="connsiteY0" fmla="*/ 981075 h 1035612"/>
                <a:gd name="connsiteX1" fmla="*/ 137423 w 563209"/>
                <a:gd name="connsiteY1" fmla="*/ 663575 h 1035612"/>
                <a:gd name="connsiteX2" fmla="*/ 141392 w 563209"/>
                <a:gd name="connsiteY2" fmla="*/ 473869 h 1035612"/>
                <a:gd name="connsiteX3" fmla="*/ 134248 w 563209"/>
                <a:gd name="connsiteY3" fmla="*/ 279400 h 1035612"/>
                <a:gd name="connsiteX4" fmla="*/ 96148 w 563209"/>
                <a:gd name="connsiteY4" fmla="*/ 431800 h 1035612"/>
                <a:gd name="connsiteX5" fmla="*/ 898 w 563209"/>
                <a:gd name="connsiteY5" fmla="*/ 431800 h 1035612"/>
                <a:gd name="connsiteX6" fmla="*/ 239023 w 563209"/>
                <a:gd name="connsiteY6" fmla="*/ 0 h 1035612"/>
                <a:gd name="connsiteX7" fmla="*/ 270773 w 563209"/>
                <a:gd name="connsiteY7" fmla="*/ 34925 h 1035612"/>
                <a:gd name="connsiteX8" fmla="*/ 311255 w 563209"/>
                <a:gd name="connsiteY8" fmla="*/ 3175 h 1035612"/>
                <a:gd name="connsiteX9" fmla="*/ 562873 w 563209"/>
                <a:gd name="connsiteY9" fmla="*/ 428625 h 1035612"/>
                <a:gd name="connsiteX10" fmla="*/ 464448 w 563209"/>
                <a:gd name="connsiteY10" fmla="*/ 428625 h 1035612"/>
                <a:gd name="connsiteX11" fmla="*/ 423173 w 563209"/>
                <a:gd name="connsiteY11" fmla="*/ 247650 h 1035612"/>
                <a:gd name="connsiteX12" fmla="*/ 419998 w 563209"/>
                <a:gd name="connsiteY12" fmla="*/ 465138 h 1035612"/>
                <a:gd name="connsiteX13" fmla="*/ 406505 w 563209"/>
                <a:gd name="connsiteY13" fmla="*/ 682625 h 1035612"/>
                <a:gd name="connsiteX14" fmla="*/ 411267 w 563209"/>
                <a:gd name="connsiteY14" fmla="*/ 975519 h 1035612"/>
                <a:gd name="connsiteX15" fmla="*/ 289030 w 563209"/>
                <a:gd name="connsiteY15" fmla="*/ 980281 h 1035612"/>
                <a:gd name="connsiteX16" fmla="*/ 280298 w 563209"/>
                <a:gd name="connsiteY16" fmla="*/ 669925 h 1035612"/>
                <a:gd name="connsiteX17" fmla="*/ 269979 w 563209"/>
                <a:gd name="connsiteY17" fmla="*/ 967581 h 1035612"/>
                <a:gd name="connsiteX18" fmla="*/ 137423 w 563209"/>
                <a:gd name="connsiteY18" fmla="*/ 981075 h 1035612"/>
                <a:gd name="connsiteX0" fmla="*/ 135042 w 563209"/>
                <a:gd name="connsiteY0" fmla="*/ 962025 h 1024722"/>
                <a:gd name="connsiteX1" fmla="*/ 137423 w 563209"/>
                <a:gd name="connsiteY1" fmla="*/ 663575 h 1024722"/>
                <a:gd name="connsiteX2" fmla="*/ 141392 w 563209"/>
                <a:gd name="connsiteY2" fmla="*/ 473869 h 1024722"/>
                <a:gd name="connsiteX3" fmla="*/ 134248 w 563209"/>
                <a:gd name="connsiteY3" fmla="*/ 279400 h 1024722"/>
                <a:gd name="connsiteX4" fmla="*/ 96148 w 563209"/>
                <a:gd name="connsiteY4" fmla="*/ 431800 h 1024722"/>
                <a:gd name="connsiteX5" fmla="*/ 898 w 563209"/>
                <a:gd name="connsiteY5" fmla="*/ 431800 h 1024722"/>
                <a:gd name="connsiteX6" fmla="*/ 239023 w 563209"/>
                <a:gd name="connsiteY6" fmla="*/ 0 h 1024722"/>
                <a:gd name="connsiteX7" fmla="*/ 270773 w 563209"/>
                <a:gd name="connsiteY7" fmla="*/ 34925 h 1024722"/>
                <a:gd name="connsiteX8" fmla="*/ 311255 w 563209"/>
                <a:gd name="connsiteY8" fmla="*/ 3175 h 1024722"/>
                <a:gd name="connsiteX9" fmla="*/ 562873 w 563209"/>
                <a:gd name="connsiteY9" fmla="*/ 428625 h 1024722"/>
                <a:gd name="connsiteX10" fmla="*/ 464448 w 563209"/>
                <a:gd name="connsiteY10" fmla="*/ 428625 h 1024722"/>
                <a:gd name="connsiteX11" fmla="*/ 423173 w 563209"/>
                <a:gd name="connsiteY11" fmla="*/ 247650 h 1024722"/>
                <a:gd name="connsiteX12" fmla="*/ 419998 w 563209"/>
                <a:gd name="connsiteY12" fmla="*/ 465138 h 1024722"/>
                <a:gd name="connsiteX13" fmla="*/ 406505 w 563209"/>
                <a:gd name="connsiteY13" fmla="*/ 682625 h 1024722"/>
                <a:gd name="connsiteX14" fmla="*/ 411267 w 563209"/>
                <a:gd name="connsiteY14" fmla="*/ 975519 h 1024722"/>
                <a:gd name="connsiteX15" fmla="*/ 289030 w 563209"/>
                <a:gd name="connsiteY15" fmla="*/ 980281 h 1024722"/>
                <a:gd name="connsiteX16" fmla="*/ 280298 w 563209"/>
                <a:gd name="connsiteY16" fmla="*/ 669925 h 1024722"/>
                <a:gd name="connsiteX17" fmla="*/ 269979 w 563209"/>
                <a:gd name="connsiteY17" fmla="*/ 967581 h 1024722"/>
                <a:gd name="connsiteX18" fmla="*/ 135042 w 563209"/>
                <a:gd name="connsiteY18" fmla="*/ 962025 h 1024722"/>
                <a:gd name="connsiteX0" fmla="*/ 135042 w 563209"/>
                <a:gd name="connsiteY0" fmla="*/ 962025 h 1024722"/>
                <a:gd name="connsiteX1" fmla="*/ 137423 w 563209"/>
                <a:gd name="connsiteY1" fmla="*/ 663575 h 1024722"/>
                <a:gd name="connsiteX2" fmla="*/ 141392 w 563209"/>
                <a:gd name="connsiteY2" fmla="*/ 473869 h 1024722"/>
                <a:gd name="connsiteX3" fmla="*/ 134248 w 563209"/>
                <a:gd name="connsiteY3" fmla="*/ 279400 h 1024722"/>
                <a:gd name="connsiteX4" fmla="*/ 96148 w 563209"/>
                <a:gd name="connsiteY4" fmla="*/ 431800 h 1024722"/>
                <a:gd name="connsiteX5" fmla="*/ 898 w 563209"/>
                <a:gd name="connsiteY5" fmla="*/ 431800 h 1024722"/>
                <a:gd name="connsiteX6" fmla="*/ 239023 w 563209"/>
                <a:gd name="connsiteY6" fmla="*/ 0 h 1024722"/>
                <a:gd name="connsiteX7" fmla="*/ 270773 w 563209"/>
                <a:gd name="connsiteY7" fmla="*/ 34925 h 1024722"/>
                <a:gd name="connsiteX8" fmla="*/ 311255 w 563209"/>
                <a:gd name="connsiteY8" fmla="*/ 3175 h 1024722"/>
                <a:gd name="connsiteX9" fmla="*/ 562873 w 563209"/>
                <a:gd name="connsiteY9" fmla="*/ 428625 h 1024722"/>
                <a:gd name="connsiteX10" fmla="*/ 464448 w 563209"/>
                <a:gd name="connsiteY10" fmla="*/ 428625 h 1024722"/>
                <a:gd name="connsiteX11" fmla="*/ 423173 w 563209"/>
                <a:gd name="connsiteY11" fmla="*/ 247650 h 1024722"/>
                <a:gd name="connsiteX12" fmla="*/ 419998 w 563209"/>
                <a:gd name="connsiteY12" fmla="*/ 465138 h 1024722"/>
                <a:gd name="connsiteX13" fmla="*/ 406505 w 563209"/>
                <a:gd name="connsiteY13" fmla="*/ 682625 h 1024722"/>
                <a:gd name="connsiteX14" fmla="*/ 411267 w 563209"/>
                <a:gd name="connsiteY14" fmla="*/ 975519 h 1024722"/>
                <a:gd name="connsiteX15" fmla="*/ 289030 w 563209"/>
                <a:gd name="connsiteY15" fmla="*/ 980281 h 1024722"/>
                <a:gd name="connsiteX16" fmla="*/ 280298 w 563209"/>
                <a:gd name="connsiteY16" fmla="*/ 550862 h 1024722"/>
                <a:gd name="connsiteX17" fmla="*/ 269979 w 563209"/>
                <a:gd name="connsiteY17" fmla="*/ 967581 h 1024722"/>
                <a:gd name="connsiteX18" fmla="*/ 135042 w 563209"/>
                <a:gd name="connsiteY18" fmla="*/ 962025 h 1024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63209" h="1024722">
                  <a:moveTo>
                    <a:pt x="135042" y="962025"/>
                  </a:moveTo>
                  <a:cubicBezTo>
                    <a:pt x="135836" y="862542"/>
                    <a:pt x="136629" y="763058"/>
                    <a:pt x="137423" y="663575"/>
                  </a:cubicBezTo>
                  <a:cubicBezTo>
                    <a:pt x="136365" y="566208"/>
                    <a:pt x="142450" y="571236"/>
                    <a:pt x="141392" y="473869"/>
                  </a:cubicBezTo>
                  <a:cubicBezTo>
                    <a:pt x="122342" y="444765"/>
                    <a:pt x="136629" y="344223"/>
                    <a:pt x="134248" y="279400"/>
                  </a:cubicBezTo>
                  <a:cubicBezTo>
                    <a:pt x="112023" y="258762"/>
                    <a:pt x="108848" y="381000"/>
                    <a:pt x="96148" y="431800"/>
                  </a:cubicBezTo>
                  <a:cubicBezTo>
                    <a:pt x="73923" y="477043"/>
                    <a:pt x="27886" y="481806"/>
                    <a:pt x="898" y="431800"/>
                  </a:cubicBezTo>
                  <a:cubicBezTo>
                    <a:pt x="-12596" y="194998"/>
                    <a:pt x="128692" y="32014"/>
                    <a:pt x="239023" y="0"/>
                  </a:cubicBezTo>
                  <a:lnTo>
                    <a:pt x="270773" y="34925"/>
                  </a:lnTo>
                  <a:lnTo>
                    <a:pt x="311255" y="3175"/>
                  </a:lnTo>
                  <a:cubicBezTo>
                    <a:pt x="478472" y="28311"/>
                    <a:pt x="569488" y="270139"/>
                    <a:pt x="562873" y="428625"/>
                  </a:cubicBezTo>
                  <a:cubicBezTo>
                    <a:pt x="544353" y="497681"/>
                    <a:pt x="475825" y="492919"/>
                    <a:pt x="464448" y="428625"/>
                  </a:cubicBezTo>
                  <a:cubicBezTo>
                    <a:pt x="457834" y="358775"/>
                    <a:pt x="448838" y="279400"/>
                    <a:pt x="423173" y="247650"/>
                  </a:cubicBezTo>
                  <a:cubicBezTo>
                    <a:pt x="422115" y="320146"/>
                    <a:pt x="435344" y="423598"/>
                    <a:pt x="419998" y="465138"/>
                  </a:cubicBezTo>
                  <a:cubicBezTo>
                    <a:pt x="399361" y="500327"/>
                    <a:pt x="407563" y="593990"/>
                    <a:pt x="406505" y="682625"/>
                  </a:cubicBezTo>
                  <a:cubicBezTo>
                    <a:pt x="408092" y="780256"/>
                    <a:pt x="409680" y="877888"/>
                    <a:pt x="411267" y="975519"/>
                  </a:cubicBezTo>
                  <a:cubicBezTo>
                    <a:pt x="378459" y="1030288"/>
                    <a:pt x="314694" y="1037431"/>
                    <a:pt x="289030" y="980281"/>
                  </a:cubicBezTo>
                  <a:cubicBezTo>
                    <a:pt x="286913" y="871273"/>
                    <a:pt x="282415" y="540807"/>
                    <a:pt x="280298" y="550862"/>
                  </a:cubicBezTo>
                  <a:cubicBezTo>
                    <a:pt x="257015" y="531812"/>
                    <a:pt x="274212" y="862806"/>
                    <a:pt x="269979" y="967581"/>
                  </a:cubicBezTo>
                  <a:cubicBezTo>
                    <a:pt x="255162" y="1035579"/>
                    <a:pt x="161766" y="1053570"/>
                    <a:pt x="135042" y="962025"/>
                  </a:cubicBezTo>
                  <a:close/>
                </a:path>
              </a:pathLst>
            </a:custGeom>
            <a:solidFill>
              <a:srgbClr val="7C2529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kern="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09" name="Group 108"/>
          <p:cNvGrpSpPr>
            <a:grpSpLocks/>
          </p:cNvGrpSpPr>
          <p:nvPr/>
        </p:nvGrpSpPr>
        <p:grpSpPr>
          <a:xfrm>
            <a:off x="975752" y="2251366"/>
            <a:ext cx="150444" cy="353870"/>
            <a:chOff x="8594804" y="1653116"/>
            <a:chExt cx="192709" cy="461052"/>
          </a:xfrm>
        </p:grpSpPr>
        <p:sp>
          <p:nvSpPr>
            <p:cNvPr id="110" name="Oval 109"/>
            <p:cNvSpPr/>
            <p:nvPr/>
          </p:nvSpPr>
          <p:spPr>
            <a:xfrm>
              <a:off x="8639379" y="1653116"/>
              <a:ext cx="100493" cy="100493"/>
            </a:xfrm>
            <a:prstGeom prst="ellipse">
              <a:avLst/>
            </a:prstGeom>
            <a:solidFill>
              <a:srgbClr val="7C2529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>
                <a:defRPr/>
              </a:pPr>
              <a:endParaRPr lang="en-US" kern="0" dirty="0" smtClean="0">
                <a:solidFill>
                  <a:prstClr val="black"/>
                </a:solidFill>
              </a:endParaRPr>
            </a:p>
          </p:txBody>
        </p:sp>
        <p:sp>
          <p:nvSpPr>
            <p:cNvPr id="111" name="Freeform 110"/>
            <p:cNvSpPr/>
            <p:nvPr/>
          </p:nvSpPr>
          <p:spPr>
            <a:xfrm>
              <a:off x="8594804" y="1757407"/>
              <a:ext cx="192709" cy="356761"/>
            </a:xfrm>
            <a:custGeom>
              <a:avLst/>
              <a:gdLst>
                <a:gd name="connsiteX0" fmla="*/ 136525 w 561975"/>
                <a:gd name="connsiteY0" fmla="*/ 987425 h 1003300"/>
                <a:gd name="connsiteX1" fmla="*/ 136525 w 561975"/>
                <a:gd name="connsiteY1" fmla="*/ 669925 h 1003300"/>
                <a:gd name="connsiteX2" fmla="*/ 79375 w 561975"/>
                <a:gd name="connsiteY2" fmla="*/ 669925 h 1003300"/>
                <a:gd name="connsiteX3" fmla="*/ 133350 w 561975"/>
                <a:gd name="connsiteY3" fmla="*/ 377825 h 1003300"/>
                <a:gd name="connsiteX4" fmla="*/ 133350 w 561975"/>
                <a:gd name="connsiteY4" fmla="*/ 285750 h 1003300"/>
                <a:gd name="connsiteX5" fmla="*/ 95250 w 561975"/>
                <a:gd name="connsiteY5" fmla="*/ 438150 h 1003300"/>
                <a:gd name="connsiteX6" fmla="*/ 0 w 561975"/>
                <a:gd name="connsiteY6" fmla="*/ 438150 h 1003300"/>
                <a:gd name="connsiteX7" fmla="*/ 238125 w 561975"/>
                <a:gd name="connsiteY7" fmla="*/ 6350 h 1003300"/>
                <a:gd name="connsiteX8" fmla="*/ 269875 w 561975"/>
                <a:gd name="connsiteY8" fmla="*/ 41275 h 1003300"/>
                <a:gd name="connsiteX9" fmla="*/ 307975 w 561975"/>
                <a:gd name="connsiteY9" fmla="*/ 0 h 1003300"/>
                <a:gd name="connsiteX10" fmla="*/ 561975 w 561975"/>
                <a:gd name="connsiteY10" fmla="*/ 434975 h 1003300"/>
                <a:gd name="connsiteX11" fmla="*/ 463550 w 561975"/>
                <a:gd name="connsiteY11" fmla="*/ 434975 h 1003300"/>
                <a:gd name="connsiteX12" fmla="*/ 422275 w 561975"/>
                <a:gd name="connsiteY12" fmla="*/ 254000 h 1003300"/>
                <a:gd name="connsiteX13" fmla="*/ 428625 w 561975"/>
                <a:gd name="connsiteY13" fmla="*/ 390525 h 1003300"/>
                <a:gd name="connsiteX14" fmla="*/ 476250 w 561975"/>
                <a:gd name="connsiteY14" fmla="*/ 679450 h 1003300"/>
                <a:gd name="connsiteX15" fmla="*/ 412750 w 561975"/>
                <a:gd name="connsiteY15" fmla="*/ 679450 h 1003300"/>
                <a:gd name="connsiteX16" fmla="*/ 412750 w 561975"/>
                <a:gd name="connsiteY16" fmla="*/ 1003300 h 1003300"/>
                <a:gd name="connsiteX17" fmla="*/ 285750 w 561975"/>
                <a:gd name="connsiteY17" fmla="*/ 1003300 h 1003300"/>
                <a:gd name="connsiteX18" fmla="*/ 279400 w 561975"/>
                <a:gd name="connsiteY18" fmla="*/ 676275 h 1003300"/>
                <a:gd name="connsiteX19" fmla="*/ 266700 w 561975"/>
                <a:gd name="connsiteY19" fmla="*/ 990600 h 1003300"/>
                <a:gd name="connsiteX20" fmla="*/ 136525 w 561975"/>
                <a:gd name="connsiteY20" fmla="*/ 987425 h 1003300"/>
                <a:gd name="connsiteX0" fmla="*/ 136525 w 561975"/>
                <a:gd name="connsiteY0" fmla="*/ 987425 h 1003300"/>
                <a:gd name="connsiteX1" fmla="*/ 136525 w 561975"/>
                <a:gd name="connsiteY1" fmla="*/ 669925 h 1003300"/>
                <a:gd name="connsiteX2" fmla="*/ 79375 w 561975"/>
                <a:gd name="connsiteY2" fmla="*/ 669925 h 1003300"/>
                <a:gd name="connsiteX3" fmla="*/ 133350 w 561975"/>
                <a:gd name="connsiteY3" fmla="*/ 377825 h 1003300"/>
                <a:gd name="connsiteX4" fmla="*/ 133350 w 561975"/>
                <a:gd name="connsiteY4" fmla="*/ 285750 h 1003300"/>
                <a:gd name="connsiteX5" fmla="*/ 95250 w 561975"/>
                <a:gd name="connsiteY5" fmla="*/ 438150 h 1003300"/>
                <a:gd name="connsiteX6" fmla="*/ 0 w 561975"/>
                <a:gd name="connsiteY6" fmla="*/ 438150 h 1003300"/>
                <a:gd name="connsiteX7" fmla="*/ 238125 w 561975"/>
                <a:gd name="connsiteY7" fmla="*/ 6350 h 1003300"/>
                <a:gd name="connsiteX8" fmla="*/ 269875 w 561975"/>
                <a:gd name="connsiteY8" fmla="*/ 41275 h 1003300"/>
                <a:gd name="connsiteX9" fmla="*/ 307975 w 561975"/>
                <a:gd name="connsiteY9" fmla="*/ 0 h 1003300"/>
                <a:gd name="connsiteX10" fmla="*/ 561975 w 561975"/>
                <a:gd name="connsiteY10" fmla="*/ 434975 h 1003300"/>
                <a:gd name="connsiteX11" fmla="*/ 463550 w 561975"/>
                <a:gd name="connsiteY11" fmla="*/ 434975 h 1003300"/>
                <a:gd name="connsiteX12" fmla="*/ 422275 w 561975"/>
                <a:gd name="connsiteY12" fmla="*/ 254000 h 1003300"/>
                <a:gd name="connsiteX13" fmla="*/ 428625 w 561975"/>
                <a:gd name="connsiteY13" fmla="*/ 390525 h 1003300"/>
                <a:gd name="connsiteX14" fmla="*/ 476250 w 561975"/>
                <a:gd name="connsiteY14" fmla="*/ 679450 h 1003300"/>
                <a:gd name="connsiteX15" fmla="*/ 412750 w 561975"/>
                <a:gd name="connsiteY15" fmla="*/ 679450 h 1003300"/>
                <a:gd name="connsiteX16" fmla="*/ 412750 w 561975"/>
                <a:gd name="connsiteY16" fmla="*/ 1003300 h 1003300"/>
                <a:gd name="connsiteX17" fmla="*/ 285750 w 561975"/>
                <a:gd name="connsiteY17" fmla="*/ 1003300 h 1003300"/>
                <a:gd name="connsiteX18" fmla="*/ 279400 w 561975"/>
                <a:gd name="connsiteY18" fmla="*/ 676275 h 1003300"/>
                <a:gd name="connsiteX19" fmla="*/ 266700 w 561975"/>
                <a:gd name="connsiteY19" fmla="*/ 990600 h 1003300"/>
                <a:gd name="connsiteX20" fmla="*/ 136525 w 561975"/>
                <a:gd name="connsiteY20" fmla="*/ 987425 h 1003300"/>
                <a:gd name="connsiteX0" fmla="*/ 136525 w 561975"/>
                <a:gd name="connsiteY0" fmla="*/ 987425 h 1003300"/>
                <a:gd name="connsiteX1" fmla="*/ 136525 w 561975"/>
                <a:gd name="connsiteY1" fmla="*/ 669925 h 1003300"/>
                <a:gd name="connsiteX2" fmla="*/ 79375 w 561975"/>
                <a:gd name="connsiteY2" fmla="*/ 669925 h 1003300"/>
                <a:gd name="connsiteX3" fmla="*/ 133350 w 561975"/>
                <a:gd name="connsiteY3" fmla="*/ 377825 h 1003300"/>
                <a:gd name="connsiteX4" fmla="*/ 133350 w 561975"/>
                <a:gd name="connsiteY4" fmla="*/ 285750 h 1003300"/>
                <a:gd name="connsiteX5" fmla="*/ 95250 w 561975"/>
                <a:gd name="connsiteY5" fmla="*/ 438150 h 1003300"/>
                <a:gd name="connsiteX6" fmla="*/ 0 w 561975"/>
                <a:gd name="connsiteY6" fmla="*/ 438150 h 1003300"/>
                <a:gd name="connsiteX7" fmla="*/ 238125 w 561975"/>
                <a:gd name="connsiteY7" fmla="*/ 6350 h 1003300"/>
                <a:gd name="connsiteX8" fmla="*/ 269875 w 561975"/>
                <a:gd name="connsiteY8" fmla="*/ 41275 h 1003300"/>
                <a:gd name="connsiteX9" fmla="*/ 307975 w 561975"/>
                <a:gd name="connsiteY9" fmla="*/ 0 h 1003300"/>
                <a:gd name="connsiteX10" fmla="*/ 561975 w 561975"/>
                <a:gd name="connsiteY10" fmla="*/ 434975 h 1003300"/>
                <a:gd name="connsiteX11" fmla="*/ 463550 w 561975"/>
                <a:gd name="connsiteY11" fmla="*/ 434975 h 1003300"/>
                <a:gd name="connsiteX12" fmla="*/ 422275 w 561975"/>
                <a:gd name="connsiteY12" fmla="*/ 254000 h 1003300"/>
                <a:gd name="connsiteX13" fmla="*/ 428625 w 561975"/>
                <a:gd name="connsiteY13" fmla="*/ 390525 h 1003300"/>
                <a:gd name="connsiteX14" fmla="*/ 476250 w 561975"/>
                <a:gd name="connsiteY14" fmla="*/ 679450 h 1003300"/>
                <a:gd name="connsiteX15" fmla="*/ 412750 w 561975"/>
                <a:gd name="connsiteY15" fmla="*/ 679450 h 1003300"/>
                <a:gd name="connsiteX16" fmla="*/ 412750 w 561975"/>
                <a:gd name="connsiteY16" fmla="*/ 1003300 h 1003300"/>
                <a:gd name="connsiteX17" fmla="*/ 285750 w 561975"/>
                <a:gd name="connsiteY17" fmla="*/ 1003300 h 1003300"/>
                <a:gd name="connsiteX18" fmla="*/ 279400 w 561975"/>
                <a:gd name="connsiteY18" fmla="*/ 676275 h 1003300"/>
                <a:gd name="connsiteX19" fmla="*/ 266700 w 561975"/>
                <a:gd name="connsiteY19" fmla="*/ 990600 h 1003300"/>
                <a:gd name="connsiteX20" fmla="*/ 136525 w 561975"/>
                <a:gd name="connsiteY20" fmla="*/ 987425 h 1003300"/>
                <a:gd name="connsiteX0" fmla="*/ 136525 w 561975"/>
                <a:gd name="connsiteY0" fmla="*/ 987425 h 1003300"/>
                <a:gd name="connsiteX1" fmla="*/ 136525 w 561975"/>
                <a:gd name="connsiteY1" fmla="*/ 669925 h 1003300"/>
                <a:gd name="connsiteX2" fmla="*/ 79375 w 561975"/>
                <a:gd name="connsiteY2" fmla="*/ 669925 h 1003300"/>
                <a:gd name="connsiteX3" fmla="*/ 133350 w 561975"/>
                <a:gd name="connsiteY3" fmla="*/ 377825 h 1003300"/>
                <a:gd name="connsiteX4" fmla="*/ 133350 w 561975"/>
                <a:gd name="connsiteY4" fmla="*/ 285750 h 1003300"/>
                <a:gd name="connsiteX5" fmla="*/ 95250 w 561975"/>
                <a:gd name="connsiteY5" fmla="*/ 438150 h 1003300"/>
                <a:gd name="connsiteX6" fmla="*/ 0 w 561975"/>
                <a:gd name="connsiteY6" fmla="*/ 438150 h 1003300"/>
                <a:gd name="connsiteX7" fmla="*/ 238125 w 561975"/>
                <a:gd name="connsiteY7" fmla="*/ 6350 h 1003300"/>
                <a:gd name="connsiteX8" fmla="*/ 269875 w 561975"/>
                <a:gd name="connsiteY8" fmla="*/ 41275 h 1003300"/>
                <a:gd name="connsiteX9" fmla="*/ 307975 w 561975"/>
                <a:gd name="connsiteY9" fmla="*/ 0 h 1003300"/>
                <a:gd name="connsiteX10" fmla="*/ 561975 w 561975"/>
                <a:gd name="connsiteY10" fmla="*/ 434975 h 1003300"/>
                <a:gd name="connsiteX11" fmla="*/ 463550 w 561975"/>
                <a:gd name="connsiteY11" fmla="*/ 434975 h 1003300"/>
                <a:gd name="connsiteX12" fmla="*/ 422275 w 561975"/>
                <a:gd name="connsiteY12" fmla="*/ 254000 h 1003300"/>
                <a:gd name="connsiteX13" fmla="*/ 428625 w 561975"/>
                <a:gd name="connsiteY13" fmla="*/ 390525 h 1003300"/>
                <a:gd name="connsiteX14" fmla="*/ 476250 w 561975"/>
                <a:gd name="connsiteY14" fmla="*/ 679450 h 1003300"/>
                <a:gd name="connsiteX15" fmla="*/ 412750 w 561975"/>
                <a:gd name="connsiteY15" fmla="*/ 679450 h 1003300"/>
                <a:gd name="connsiteX16" fmla="*/ 412750 w 561975"/>
                <a:gd name="connsiteY16" fmla="*/ 1003300 h 1003300"/>
                <a:gd name="connsiteX17" fmla="*/ 285750 w 561975"/>
                <a:gd name="connsiteY17" fmla="*/ 1003300 h 1003300"/>
                <a:gd name="connsiteX18" fmla="*/ 279400 w 561975"/>
                <a:gd name="connsiteY18" fmla="*/ 676275 h 1003300"/>
                <a:gd name="connsiteX19" fmla="*/ 266700 w 561975"/>
                <a:gd name="connsiteY19" fmla="*/ 990600 h 1003300"/>
                <a:gd name="connsiteX20" fmla="*/ 136525 w 561975"/>
                <a:gd name="connsiteY20" fmla="*/ 987425 h 1003300"/>
                <a:gd name="connsiteX0" fmla="*/ 136525 w 561975"/>
                <a:gd name="connsiteY0" fmla="*/ 987425 h 1003300"/>
                <a:gd name="connsiteX1" fmla="*/ 136525 w 561975"/>
                <a:gd name="connsiteY1" fmla="*/ 669925 h 1003300"/>
                <a:gd name="connsiteX2" fmla="*/ 79375 w 561975"/>
                <a:gd name="connsiteY2" fmla="*/ 669925 h 1003300"/>
                <a:gd name="connsiteX3" fmla="*/ 133350 w 561975"/>
                <a:gd name="connsiteY3" fmla="*/ 377825 h 1003300"/>
                <a:gd name="connsiteX4" fmla="*/ 133350 w 561975"/>
                <a:gd name="connsiteY4" fmla="*/ 285750 h 1003300"/>
                <a:gd name="connsiteX5" fmla="*/ 95250 w 561975"/>
                <a:gd name="connsiteY5" fmla="*/ 438150 h 1003300"/>
                <a:gd name="connsiteX6" fmla="*/ 0 w 561975"/>
                <a:gd name="connsiteY6" fmla="*/ 438150 h 1003300"/>
                <a:gd name="connsiteX7" fmla="*/ 238125 w 561975"/>
                <a:gd name="connsiteY7" fmla="*/ 6350 h 1003300"/>
                <a:gd name="connsiteX8" fmla="*/ 269875 w 561975"/>
                <a:gd name="connsiteY8" fmla="*/ 41275 h 1003300"/>
                <a:gd name="connsiteX9" fmla="*/ 307975 w 561975"/>
                <a:gd name="connsiteY9" fmla="*/ 0 h 1003300"/>
                <a:gd name="connsiteX10" fmla="*/ 561975 w 561975"/>
                <a:gd name="connsiteY10" fmla="*/ 434975 h 1003300"/>
                <a:gd name="connsiteX11" fmla="*/ 463550 w 561975"/>
                <a:gd name="connsiteY11" fmla="*/ 434975 h 1003300"/>
                <a:gd name="connsiteX12" fmla="*/ 422275 w 561975"/>
                <a:gd name="connsiteY12" fmla="*/ 254000 h 1003300"/>
                <a:gd name="connsiteX13" fmla="*/ 428625 w 561975"/>
                <a:gd name="connsiteY13" fmla="*/ 390525 h 1003300"/>
                <a:gd name="connsiteX14" fmla="*/ 476250 w 561975"/>
                <a:gd name="connsiteY14" fmla="*/ 679450 h 1003300"/>
                <a:gd name="connsiteX15" fmla="*/ 412750 w 561975"/>
                <a:gd name="connsiteY15" fmla="*/ 679450 h 1003300"/>
                <a:gd name="connsiteX16" fmla="*/ 412750 w 561975"/>
                <a:gd name="connsiteY16" fmla="*/ 1003300 h 1003300"/>
                <a:gd name="connsiteX17" fmla="*/ 285750 w 561975"/>
                <a:gd name="connsiteY17" fmla="*/ 1003300 h 1003300"/>
                <a:gd name="connsiteX18" fmla="*/ 279400 w 561975"/>
                <a:gd name="connsiteY18" fmla="*/ 676275 h 1003300"/>
                <a:gd name="connsiteX19" fmla="*/ 266700 w 561975"/>
                <a:gd name="connsiteY19" fmla="*/ 990600 h 1003300"/>
                <a:gd name="connsiteX20" fmla="*/ 136525 w 561975"/>
                <a:gd name="connsiteY20" fmla="*/ 987425 h 1003300"/>
                <a:gd name="connsiteX0" fmla="*/ 136525 w 561975"/>
                <a:gd name="connsiteY0" fmla="*/ 987425 h 1003300"/>
                <a:gd name="connsiteX1" fmla="*/ 136525 w 561975"/>
                <a:gd name="connsiteY1" fmla="*/ 669925 h 1003300"/>
                <a:gd name="connsiteX2" fmla="*/ 79375 w 561975"/>
                <a:gd name="connsiteY2" fmla="*/ 669925 h 1003300"/>
                <a:gd name="connsiteX3" fmla="*/ 133350 w 561975"/>
                <a:gd name="connsiteY3" fmla="*/ 377825 h 1003300"/>
                <a:gd name="connsiteX4" fmla="*/ 133350 w 561975"/>
                <a:gd name="connsiteY4" fmla="*/ 285750 h 1003300"/>
                <a:gd name="connsiteX5" fmla="*/ 95250 w 561975"/>
                <a:gd name="connsiteY5" fmla="*/ 438150 h 1003300"/>
                <a:gd name="connsiteX6" fmla="*/ 0 w 561975"/>
                <a:gd name="connsiteY6" fmla="*/ 438150 h 1003300"/>
                <a:gd name="connsiteX7" fmla="*/ 238125 w 561975"/>
                <a:gd name="connsiteY7" fmla="*/ 6350 h 1003300"/>
                <a:gd name="connsiteX8" fmla="*/ 269875 w 561975"/>
                <a:gd name="connsiteY8" fmla="*/ 41275 h 1003300"/>
                <a:gd name="connsiteX9" fmla="*/ 307975 w 561975"/>
                <a:gd name="connsiteY9" fmla="*/ 0 h 1003300"/>
                <a:gd name="connsiteX10" fmla="*/ 561975 w 561975"/>
                <a:gd name="connsiteY10" fmla="*/ 434975 h 1003300"/>
                <a:gd name="connsiteX11" fmla="*/ 463550 w 561975"/>
                <a:gd name="connsiteY11" fmla="*/ 434975 h 1003300"/>
                <a:gd name="connsiteX12" fmla="*/ 422275 w 561975"/>
                <a:gd name="connsiteY12" fmla="*/ 254000 h 1003300"/>
                <a:gd name="connsiteX13" fmla="*/ 428625 w 561975"/>
                <a:gd name="connsiteY13" fmla="*/ 390525 h 1003300"/>
                <a:gd name="connsiteX14" fmla="*/ 476250 w 561975"/>
                <a:gd name="connsiteY14" fmla="*/ 679450 h 1003300"/>
                <a:gd name="connsiteX15" fmla="*/ 412750 w 561975"/>
                <a:gd name="connsiteY15" fmla="*/ 679450 h 1003300"/>
                <a:gd name="connsiteX16" fmla="*/ 412750 w 561975"/>
                <a:gd name="connsiteY16" fmla="*/ 1003300 h 1003300"/>
                <a:gd name="connsiteX17" fmla="*/ 285750 w 561975"/>
                <a:gd name="connsiteY17" fmla="*/ 1003300 h 1003300"/>
                <a:gd name="connsiteX18" fmla="*/ 279400 w 561975"/>
                <a:gd name="connsiteY18" fmla="*/ 676275 h 1003300"/>
                <a:gd name="connsiteX19" fmla="*/ 266700 w 561975"/>
                <a:gd name="connsiteY19" fmla="*/ 990600 h 1003300"/>
                <a:gd name="connsiteX20" fmla="*/ 136525 w 561975"/>
                <a:gd name="connsiteY20" fmla="*/ 987425 h 1003300"/>
                <a:gd name="connsiteX0" fmla="*/ 137274 w 562724"/>
                <a:gd name="connsiteY0" fmla="*/ 987425 h 1003300"/>
                <a:gd name="connsiteX1" fmla="*/ 137274 w 562724"/>
                <a:gd name="connsiteY1" fmla="*/ 669925 h 1003300"/>
                <a:gd name="connsiteX2" fmla="*/ 80124 w 562724"/>
                <a:gd name="connsiteY2" fmla="*/ 669925 h 1003300"/>
                <a:gd name="connsiteX3" fmla="*/ 134099 w 562724"/>
                <a:gd name="connsiteY3" fmla="*/ 377825 h 1003300"/>
                <a:gd name="connsiteX4" fmla="*/ 134099 w 562724"/>
                <a:gd name="connsiteY4" fmla="*/ 285750 h 1003300"/>
                <a:gd name="connsiteX5" fmla="*/ 95999 w 562724"/>
                <a:gd name="connsiteY5" fmla="*/ 438150 h 1003300"/>
                <a:gd name="connsiteX6" fmla="*/ 749 w 562724"/>
                <a:gd name="connsiteY6" fmla="*/ 438150 h 1003300"/>
                <a:gd name="connsiteX7" fmla="*/ 238874 w 562724"/>
                <a:gd name="connsiteY7" fmla="*/ 6350 h 1003300"/>
                <a:gd name="connsiteX8" fmla="*/ 270624 w 562724"/>
                <a:gd name="connsiteY8" fmla="*/ 41275 h 1003300"/>
                <a:gd name="connsiteX9" fmla="*/ 308724 w 562724"/>
                <a:gd name="connsiteY9" fmla="*/ 0 h 1003300"/>
                <a:gd name="connsiteX10" fmla="*/ 562724 w 562724"/>
                <a:gd name="connsiteY10" fmla="*/ 434975 h 1003300"/>
                <a:gd name="connsiteX11" fmla="*/ 464299 w 562724"/>
                <a:gd name="connsiteY11" fmla="*/ 434975 h 1003300"/>
                <a:gd name="connsiteX12" fmla="*/ 423024 w 562724"/>
                <a:gd name="connsiteY12" fmla="*/ 254000 h 1003300"/>
                <a:gd name="connsiteX13" fmla="*/ 429374 w 562724"/>
                <a:gd name="connsiteY13" fmla="*/ 390525 h 1003300"/>
                <a:gd name="connsiteX14" fmla="*/ 476999 w 562724"/>
                <a:gd name="connsiteY14" fmla="*/ 679450 h 1003300"/>
                <a:gd name="connsiteX15" fmla="*/ 413499 w 562724"/>
                <a:gd name="connsiteY15" fmla="*/ 679450 h 1003300"/>
                <a:gd name="connsiteX16" fmla="*/ 413499 w 562724"/>
                <a:gd name="connsiteY16" fmla="*/ 1003300 h 1003300"/>
                <a:gd name="connsiteX17" fmla="*/ 286499 w 562724"/>
                <a:gd name="connsiteY17" fmla="*/ 1003300 h 1003300"/>
                <a:gd name="connsiteX18" fmla="*/ 280149 w 562724"/>
                <a:gd name="connsiteY18" fmla="*/ 676275 h 1003300"/>
                <a:gd name="connsiteX19" fmla="*/ 267449 w 562724"/>
                <a:gd name="connsiteY19" fmla="*/ 990600 h 1003300"/>
                <a:gd name="connsiteX20" fmla="*/ 137274 w 562724"/>
                <a:gd name="connsiteY20" fmla="*/ 987425 h 1003300"/>
                <a:gd name="connsiteX0" fmla="*/ 137423 w 562873"/>
                <a:gd name="connsiteY0" fmla="*/ 987425 h 1003300"/>
                <a:gd name="connsiteX1" fmla="*/ 137423 w 562873"/>
                <a:gd name="connsiteY1" fmla="*/ 669925 h 1003300"/>
                <a:gd name="connsiteX2" fmla="*/ 80273 w 562873"/>
                <a:gd name="connsiteY2" fmla="*/ 669925 h 1003300"/>
                <a:gd name="connsiteX3" fmla="*/ 134248 w 562873"/>
                <a:gd name="connsiteY3" fmla="*/ 377825 h 1003300"/>
                <a:gd name="connsiteX4" fmla="*/ 134248 w 562873"/>
                <a:gd name="connsiteY4" fmla="*/ 285750 h 1003300"/>
                <a:gd name="connsiteX5" fmla="*/ 96148 w 562873"/>
                <a:gd name="connsiteY5" fmla="*/ 438150 h 1003300"/>
                <a:gd name="connsiteX6" fmla="*/ 898 w 562873"/>
                <a:gd name="connsiteY6" fmla="*/ 438150 h 1003300"/>
                <a:gd name="connsiteX7" fmla="*/ 239023 w 562873"/>
                <a:gd name="connsiteY7" fmla="*/ 6350 h 1003300"/>
                <a:gd name="connsiteX8" fmla="*/ 270773 w 562873"/>
                <a:gd name="connsiteY8" fmla="*/ 41275 h 1003300"/>
                <a:gd name="connsiteX9" fmla="*/ 308873 w 562873"/>
                <a:gd name="connsiteY9" fmla="*/ 0 h 1003300"/>
                <a:gd name="connsiteX10" fmla="*/ 562873 w 562873"/>
                <a:gd name="connsiteY10" fmla="*/ 434975 h 1003300"/>
                <a:gd name="connsiteX11" fmla="*/ 464448 w 562873"/>
                <a:gd name="connsiteY11" fmla="*/ 434975 h 1003300"/>
                <a:gd name="connsiteX12" fmla="*/ 423173 w 562873"/>
                <a:gd name="connsiteY12" fmla="*/ 254000 h 1003300"/>
                <a:gd name="connsiteX13" fmla="*/ 429523 w 562873"/>
                <a:gd name="connsiteY13" fmla="*/ 390525 h 1003300"/>
                <a:gd name="connsiteX14" fmla="*/ 477148 w 562873"/>
                <a:gd name="connsiteY14" fmla="*/ 679450 h 1003300"/>
                <a:gd name="connsiteX15" fmla="*/ 413648 w 562873"/>
                <a:gd name="connsiteY15" fmla="*/ 679450 h 1003300"/>
                <a:gd name="connsiteX16" fmla="*/ 413648 w 562873"/>
                <a:gd name="connsiteY16" fmla="*/ 1003300 h 1003300"/>
                <a:gd name="connsiteX17" fmla="*/ 286648 w 562873"/>
                <a:gd name="connsiteY17" fmla="*/ 1003300 h 1003300"/>
                <a:gd name="connsiteX18" fmla="*/ 280298 w 562873"/>
                <a:gd name="connsiteY18" fmla="*/ 676275 h 1003300"/>
                <a:gd name="connsiteX19" fmla="*/ 267598 w 562873"/>
                <a:gd name="connsiteY19" fmla="*/ 990600 h 1003300"/>
                <a:gd name="connsiteX20" fmla="*/ 137423 w 562873"/>
                <a:gd name="connsiteY20" fmla="*/ 987425 h 1003300"/>
                <a:gd name="connsiteX0" fmla="*/ 137423 w 562873"/>
                <a:gd name="connsiteY0" fmla="*/ 981075 h 996950"/>
                <a:gd name="connsiteX1" fmla="*/ 137423 w 562873"/>
                <a:gd name="connsiteY1" fmla="*/ 663575 h 996950"/>
                <a:gd name="connsiteX2" fmla="*/ 80273 w 562873"/>
                <a:gd name="connsiteY2" fmla="*/ 663575 h 996950"/>
                <a:gd name="connsiteX3" fmla="*/ 134248 w 562873"/>
                <a:gd name="connsiteY3" fmla="*/ 371475 h 996950"/>
                <a:gd name="connsiteX4" fmla="*/ 134248 w 562873"/>
                <a:gd name="connsiteY4" fmla="*/ 279400 h 996950"/>
                <a:gd name="connsiteX5" fmla="*/ 96148 w 562873"/>
                <a:gd name="connsiteY5" fmla="*/ 431800 h 996950"/>
                <a:gd name="connsiteX6" fmla="*/ 898 w 562873"/>
                <a:gd name="connsiteY6" fmla="*/ 431800 h 996950"/>
                <a:gd name="connsiteX7" fmla="*/ 239023 w 562873"/>
                <a:gd name="connsiteY7" fmla="*/ 0 h 996950"/>
                <a:gd name="connsiteX8" fmla="*/ 270773 w 562873"/>
                <a:gd name="connsiteY8" fmla="*/ 34925 h 996950"/>
                <a:gd name="connsiteX9" fmla="*/ 311255 w 562873"/>
                <a:gd name="connsiteY9" fmla="*/ 3175 h 996950"/>
                <a:gd name="connsiteX10" fmla="*/ 562873 w 562873"/>
                <a:gd name="connsiteY10" fmla="*/ 428625 h 996950"/>
                <a:gd name="connsiteX11" fmla="*/ 464448 w 562873"/>
                <a:gd name="connsiteY11" fmla="*/ 428625 h 996950"/>
                <a:gd name="connsiteX12" fmla="*/ 423173 w 562873"/>
                <a:gd name="connsiteY12" fmla="*/ 247650 h 996950"/>
                <a:gd name="connsiteX13" fmla="*/ 429523 w 562873"/>
                <a:gd name="connsiteY13" fmla="*/ 384175 h 996950"/>
                <a:gd name="connsiteX14" fmla="*/ 477148 w 562873"/>
                <a:gd name="connsiteY14" fmla="*/ 673100 h 996950"/>
                <a:gd name="connsiteX15" fmla="*/ 413648 w 562873"/>
                <a:gd name="connsiteY15" fmla="*/ 673100 h 996950"/>
                <a:gd name="connsiteX16" fmla="*/ 413648 w 562873"/>
                <a:gd name="connsiteY16" fmla="*/ 996950 h 996950"/>
                <a:gd name="connsiteX17" fmla="*/ 286648 w 562873"/>
                <a:gd name="connsiteY17" fmla="*/ 996950 h 996950"/>
                <a:gd name="connsiteX18" fmla="*/ 280298 w 562873"/>
                <a:gd name="connsiteY18" fmla="*/ 669925 h 996950"/>
                <a:gd name="connsiteX19" fmla="*/ 267598 w 562873"/>
                <a:gd name="connsiteY19" fmla="*/ 984250 h 996950"/>
                <a:gd name="connsiteX20" fmla="*/ 137423 w 562873"/>
                <a:gd name="connsiteY20" fmla="*/ 981075 h 996950"/>
                <a:gd name="connsiteX0" fmla="*/ 137423 w 562873"/>
                <a:gd name="connsiteY0" fmla="*/ 981075 h 996950"/>
                <a:gd name="connsiteX1" fmla="*/ 137423 w 562873"/>
                <a:gd name="connsiteY1" fmla="*/ 663575 h 996950"/>
                <a:gd name="connsiteX2" fmla="*/ 80273 w 562873"/>
                <a:gd name="connsiteY2" fmla="*/ 663575 h 996950"/>
                <a:gd name="connsiteX3" fmla="*/ 134248 w 562873"/>
                <a:gd name="connsiteY3" fmla="*/ 371475 h 996950"/>
                <a:gd name="connsiteX4" fmla="*/ 134248 w 562873"/>
                <a:gd name="connsiteY4" fmla="*/ 279400 h 996950"/>
                <a:gd name="connsiteX5" fmla="*/ 96148 w 562873"/>
                <a:gd name="connsiteY5" fmla="*/ 431800 h 996950"/>
                <a:gd name="connsiteX6" fmla="*/ 898 w 562873"/>
                <a:gd name="connsiteY6" fmla="*/ 431800 h 996950"/>
                <a:gd name="connsiteX7" fmla="*/ 239023 w 562873"/>
                <a:gd name="connsiteY7" fmla="*/ 0 h 996950"/>
                <a:gd name="connsiteX8" fmla="*/ 270773 w 562873"/>
                <a:gd name="connsiteY8" fmla="*/ 34925 h 996950"/>
                <a:gd name="connsiteX9" fmla="*/ 311255 w 562873"/>
                <a:gd name="connsiteY9" fmla="*/ 3175 h 996950"/>
                <a:gd name="connsiteX10" fmla="*/ 562873 w 562873"/>
                <a:gd name="connsiteY10" fmla="*/ 428625 h 996950"/>
                <a:gd name="connsiteX11" fmla="*/ 464448 w 562873"/>
                <a:gd name="connsiteY11" fmla="*/ 428625 h 996950"/>
                <a:gd name="connsiteX12" fmla="*/ 423173 w 562873"/>
                <a:gd name="connsiteY12" fmla="*/ 247650 h 996950"/>
                <a:gd name="connsiteX13" fmla="*/ 429523 w 562873"/>
                <a:gd name="connsiteY13" fmla="*/ 384175 h 996950"/>
                <a:gd name="connsiteX14" fmla="*/ 477148 w 562873"/>
                <a:gd name="connsiteY14" fmla="*/ 673100 h 996950"/>
                <a:gd name="connsiteX15" fmla="*/ 413648 w 562873"/>
                <a:gd name="connsiteY15" fmla="*/ 673100 h 996950"/>
                <a:gd name="connsiteX16" fmla="*/ 413648 w 562873"/>
                <a:gd name="connsiteY16" fmla="*/ 996950 h 996950"/>
                <a:gd name="connsiteX17" fmla="*/ 286648 w 562873"/>
                <a:gd name="connsiteY17" fmla="*/ 996950 h 996950"/>
                <a:gd name="connsiteX18" fmla="*/ 280298 w 562873"/>
                <a:gd name="connsiteY18" fmla="*/ 669925 h 996950"/>
                <a:gd name="connsiteX19" fmla="*/ 267598 w 562873"/>
                <a:gd name="connsiteY19" fmla="*/ 984250 h 996950"/>
                <a:gd name="connsiteX20" fmla="*/ 137423 w 562873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9523 w 563209"/>
                <a:gd name="connsiteY13" fmla="*/ 384175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9523 w 563209"/>
                <a:gd name="connsiteY13" fmla="*/ 384175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9523 w 563209"/>
                <a:gd name="connsiteY13" fmla="*/ 384175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9523 w 563209"/>
                <a:gd name="connsiteY13" fmla="*/ 384175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9523 w 563209"/>
                <a:gd name="connsiteY13" fmla="*/ 384175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9523 w 563209"/>
                <a:gd name="connsiteY13" fmla="*/ 384175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9523 w 563209"/>
                <a:gd name="connsiteY13" fmla="*/ 384175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9523 w 563209"/>
                <a:gd name="connsiteY13" fmla="*/ 384175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4760 w 563209"/>
                <a:gd name="connsiteY13" fmla="*/ 369888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1022359"/>
                <a:gd name="connsiteX1" fmla="*/ 137423 w 563209"/>
                <a:gd name="connsiteY1" fmla="*/ 663575 h 1022359"/>
                <a:gd name="connsiteX2" fmla="*/ 80273 w 563209"/>
                <a:gd name="connsiteY2" fmla="*/ 663575 h 1022359"/>
                <a:gd name="connsiteX3" fmla="*/ 134248 w 563209"/>
                <a:gd name="connsiteY3" fmla="*/ 371475 h 1022359"/>
                <a:gd name="connsiteX4" fmla="*/ 134248 w 563209"/>
                <a:gd name="connsiteY4" fmla="*/ 279400 h 1022359"/>
                <a:gd name="connsiteX5" fmla="*/ 96148 w 563209"/>
                <a:gd name="connsiteY5" fmla="*/ 431800 h 1022359"/>
                <a:gd name="connsiteX6" fmla="*/ 898 w 563209"/>
                <a:gd name="connsiteY6" fmla="*/ 431800 h 1022359"/>
                <a:gd name="connsiteX7" fmla="*/ 239023 w 563209"/>
                <a:gd name="connsiteY7" fmla="*/ 0 h 1022359"/>
                <a:gd name="connsiteX8" fmla="*/ 270773 w 563209"/>
                <a:gd name="connsiteY8" fmla="*/ 34925 h 1022359"/>
                <a:gd name="connsiteX9" fmla="*/ 311255 w 563209"/>
                <a:gd name="connsiteY9" fmla="*/ 3175 h 1022359"/>
                <a:gd name="connsiteX10" fmla="*/ 562873 w 563209"/>
                <a:gd name="connsiteY10" fmla="*/ 428625 h 1022359"/>
                <a:gd name="connsiteX11" fmla="*/ 464448 w 563209"/>
                <a:gd name="connsiteY11" fmla="*/ 428625 h 1022359"/>
                <a:gd name="connsiteX12" fmla="*/ 423173 w 563209"/>
                <a:gd name="connsiteY12" fmla="*/ 247650 h 1022359"/>
                <a:gd name="connsiteX13" fmla="*/ 424760 w 563209"/>
                <a:gd name="connsiteY13" fmla="*/ 369888 h 1022359"/>
                <a:gd name="connsiteX14" fmla="*/ 477148 w 563209"/>
                <a:gd name="connsiteY14" fmla="*/ 673100 h 1022359"/>
                <a:gd name="connsiteX15" fmla="*/ 413648 w 563209"/>
                <a:gd name="connsiteY15" fmla="*/ 673100 h 1022359"/>
                <a:gd name="connsiteX16" fmla="*/ 413648 w 563209"/>
                <a:gd name="connsiteY16" fmla="*/ 996950 h 1022359"/>
                <a:gd name="connsiteX17" fmla="*/ 286648 w 563209"/>
                <a:gd name="connsiteY17" fmla="*/ 996950 h 1022359"/>
                <a:gd name="connsiteX18" fmla="*/ 280298 w 563209"/>
                <a:gd name="connsiteY18" fmla="*/ 669925 h 1022359"/>
                <a:gd name="connsiteX19" fmla="*/ 267598 w 563209"/>
                <a:gd name="connsiteY19" fmla="*/ 984250 h 1022359"/>
                <a:gd name="connsiteX20" fmla="*/ 137423 w 563209"/>
                <a:gd name="connsiteY20" fmla="*/ 981075 h 1022359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80273 w 563209"/>
                <a:gd name="connsiteY2" fmla="*/ 663575 h 1042663"/>
                <a:gd name="connsiteX3" fmla="*/ 134248 w 563209"/>
                <a:gd name="connsiteY3" fmla="*/ 371475 h 1042663"/>
                <a:gd name="connsiteX4" fmla="*/ 134248 w 563209"/>
                <a:gd name="connsiteY4" fmla="*/ 279400 h 1042663"/>
                <a:gd name="connsiteX5" fmla="*/ 96148 w 563209"/>
                <a:gd name="connsiteY5" fmla="*/ 431800 h 1042663"/>
                <a:gd name="connsiteX6" fmla="*/ 898 w 563209"/>
                <a:gd name="connsiteY6" fmla="*/ 431800 h 1042663"/>
                <a:gd name="connsiteX7" fmla="*/ 239023 w 563209"/>
                <a:gd name="connsiteY7" fmla="*/ 0 h 1042663"/>
                <a:gd name="connsiteX8" fmla="*/ 270773 w 563209"/>
                <a:gd name="connsiteY8" fmla="*/ 34925 h 1042663"/>
                <a:gd name="connsiteX9" fmla="*/ 311255 w 563209"/>
                <a:gd name="connsiteY9" fmla="*/ 3175 h 1042663"/>
                <a:gd name="connsiteX10" fmla="*/ 562873 w 563209"/>
                <a:gd name="connsiteY10" fmla="*/ 428625 h 1042663"/>
                <a:gd name="connsiteX11" fmla="*/ 464448 w 563209"/>
                <a:gd name="connsiteY11" fmla="*/ 428625 h 1042663"/>
                <a:gd name="connsiteX12" fmla="*/ 423173 w 563209"/>
                <a:gd name="connsiteY12" fmla="*/ 247650 h 1042663"/>
                <a:gd name="connsiteX13" fmla="*/ 424760 w 563209"/>
                <a:gd name="connsiteY13" fmla="*/ 369888 h 1042663"/>
                <a:gd name="connsiteX14" fmla="*/ 477148 w 563209"/>
                <a:gd name="connsiteY14" fmla="*/ 673100 h 1042663"/>
                <a:gd name="connsiteX15" fmla="*/ 413648 w 563209"/>
                <a:gd name="connsiteY15" fmla="*/ 673100 h 1042663"/>
                <a:gd name="connsiteX16" fmla="*/ 413648 w 563209"/>
                <a:gd name="connsiteY16" fmla="*/ 996950 h 1042663"/>
                <a:gd name="connsiteX17" fmla="*/ 286648 w 563209"/>
                <a:gd name="connsiteY17" fmla="*/ 996950 h 1042663"/>
                <a:gd name="connsiteX18" fmla="*/ 280298 w 563209"/>
                <a:gd name="connsiteY18" fmla="*/ 669925 h 1042663"/>
                <a:gd name="connsiteX19" fmla="*/ 267598 w 563209"/>
                <a:gd name="connsiteY19" fmla="*/ 984250 h 1042663"/>
                <a:gd name="connsiteX20" fmla="*/ 137423 w 563209"/>
                <a:gd name="connsiteY20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80273 w 563209"/>
                <a:gd name="connsiteY2" fmla="*/ 663575 h 1042663"/>
                <a:gd name="connsiteX3" fmla="*/ 134248 w 563209"/>
                <a:gd name="connsiteY3" fmla="*/ 371475 h 1042663"/>
                <a:gd name="connsiteX4" fmla="*/ 134248 w 563209"/>
                <a:gd name="connsiteY4" fmla="*/ 279400 h 1042663"/>
                <a:gd name="connsiteX5" fmla="*/ 96148 w 563209"/>
                <a:gd name="connsiteY5" fmla="*/ 431800 h 1042663"/>
                <a:gd name="connsiteX6" fmla="*/ 898 w 563209"/>
                <a:gd name="connsiteY6" fmla="*/ 431800 h 1042663"/>
                <a:gd name="connsiteX7" fmla="*/ 239023 w 563209"/>
                <a:gd name="connsiteY7" fmla="*/ 0 h 1042663"/>
                <a:gd name="connsiteX8" fmla="*/ 270773 w 563209"/>
                <a:gd name="connsiteY8" fmla="*/ 34925 h 1042663"/>
                <a:gd name="connsiteX9" fmla="*/ 311255 w 563209"/>
                <a:gd name="connsiteY9" fmla="*/ 3175 h 1042663"/>
                <a:gd name="connsiteX10" fmla="*/ 562873 w 563209"/>
                <a:gd name="connsiteY10" fmla="*/ 428625 h 1042663"/>
                <a:gd name="connsiteX11" fmla="*/ 464448 w 563209"/>
                <a:gd name="connsiteY11" fmla="*/ 428625 h 1042663"/>
                <a:gd name="connsiteX12" fmla="*/ 423173 w 563209"/>
                <a:gd name="connsiteY12" fmla="*/ 247650 h 1042663"/>
                <a:gd name="connsiteX13" fmla="*/ 424760 w 563209"/>
                <a:gd name="connsiteY13" fmla="*/ 369888 h 1042663"/>
                <a:gd name="connsiteX14" fmla="*/ 477148 w 563209"/>
                <a:gd name="connsiteY14" fmla="*/ 673100 h 1042663"/>
                <a:gd name="connsiteX15" fmla="*/ 413648 w 563209"/>
                <a:gd name="connsiteY15" fmla="*/ 673100 h 1042663"/>
                <a:gd name="connsiteX16" fmla="*/ 413648 w 563209"/>
                <a:gd name="connsiteY16" fmla="*/ 996950 h 1042663"/>
                <a:gd name="connsiteX17" fmla="*/ 286648 w 563209"/>
                <a:gd name="connsiteY17" fmla="*/ 996950 h 1042663"/>
                <a:gd name="connsiteX18" fmla="*/ 280298 w 563209"/>
                <a:gd name="connsiteY18" fmla="*/ 669925 h 1042663"/>
                <a:gd name="connsiteX19" fmla="*/ 267598 w 563209"/>
                <a:gd name="connsiteY19" fmla="*/ 984250 h 1042663"/>
                <a:gd name="connsiteX20" fmla="*/ 137423 w 563209"/>
                <a:gd name="connsiteY20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80273 w 563209"/>
                <a:gd name="connsiteY2" fmla="*/ 663575 h 1042663"/>
                <a:gd name="connsiteX3" fmla="*/ 134248 w 563209"/>
                <a:gd name="connsiteY3" fmla="*/ 371475 h 1042663"/>
                <a:gd name="connsiteX4" fmla="*/ 134248 w 563209"/>
                <a:gd name="connsiteY4" fmla="*/ 279400 h 1042663"/>
                <a:gd name="connsiteX5" fmla="*/ 96148 w 563209"/>
                <a:gd name="connsiteY5" fmla="*/ 431800 h 1042663"/>
                <a:gd name="connsiteX6" fmla="*/ 898 w 563209"/>
                <a:gd name="connsiteY6" fmla="*/ 431800 h 1042663"/>
                <a:gd name="connsiteX7" fmla="*/ 239023 w 563209"/>
                <a:gd name="connsiteY7" fmla="*/ 0 h 1042663"/>
                <a:gd name="connsiteX8" fmla="*/ 270773 w 563209"/>
                <a:gd name="connsiteY8" fmla="*/ 34925 h 1042663"/>
                <a:gd name="connsiteX9" fmla="*/ 311255 w 563209"/>
                <a:gd name="connsiteY9" fmla="*/ 3175 h 1042663"/>
                <a:gd name="connsiteX10" fmla="*/ 562873 w 563209"/>
                <a:gd name="connsiteY10" fmla="*/ 428625 h 1042663"/>
                <a:gd name="connsiteX11" fmla="*/ 464448 w 563209"/>
                <a:gd name="connsiteY11" fmla="*/ 428625 h 1042663"/>
                <a:gd name="connsiteX12" fmla="*/ 423173 w 563209"/>
                <a:gd name="connsiteY12" fmla="*/ 247650 h 1042663"/>
                <a:gd name="connsiteX13" fmla="*/ 424760 w 563209"/>
                <a:gd name="connsiteY13" fmla="*/ 369888 h 1042663"/>
                <a:gd name="connsiteX14" fmla="*/ 477148 w 563209"/>
                <a:gd name="connsiteY14" fmla="*/ 673100 h 1042663"/>
                <a:gd name="connsiteX15" fmla="*/ 413648 w 563209"/>
                <a:gd name="connsiteY15" fmla="*/ 673100 h 1042663"/>
                <a:gd name="connsiteX16" fmla="*/ 413648 w 563209"/>
                <a:gd name="connsiteY16" fmla="*/ 996950 h 1042663"/>
                <a:gd name="connsiteX17" fmla="*/ 286648 w 563209"/>
                <a:gd name="connsiteY17" fmla="*/ 996950 h 1042663"/>
                <a:gd name="connsiteX18" fmla="*/ 280298 w 563209"/>
                <a:gd name="connsiteY18" fmla="*/ 669925 h 1042663"/>
                <a:gd name="connsiteX19" fmla="*/ 267598 w 563209"/>
                <a:gd name="connsiteY19" fmla="*/ 984250 h 1042663"/>
                <a:gd name="connsiteX20" fmla="*/ 137423 w 563209"/>
                <a:gd name="connsiteY20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80273 w 563209"/>
                <a:gd name="connsiteY2" fmla="*/ 663575 h 1042663"/>
                <a:gd name="connsiteX3" fmla="*/ 134248 w 563209"/>
                <a:gd name="connsiteY3" fmla="*/ 371475 h 1042663"/>
                <a:gd name="connsiteX4" fmla="*/ 134248 w 563209"/>
                <a:gd name="connsiteY4" fmla="*/ 279400 h 1042663"/>
                <a:gd name="connsiteX5" fmla="*/ 96148 w 563209"/>
                <a:gd name="connsiteY5" fmla="*/ 431800 h 1042663"/>
                <a:gd name="connsiteX6" fmla="*/ 898 w 563209"/>
                <a:gd name="connsiteY6" fmla="*/ 431800 h 1042663"/>
                <a:gd name="connsiteX7" fmla="*/ 239023 w 563209"/>
                <a:gd name="connsiteY7" fmla="*/ 0 h 1042663"/>
                <a:gd name="connsiteX8" fmla="*/ 270773 w 563209"/>
                <a:gd name="connsiteY8" fmla="*/ 34925 h 1042663"/>
                <a:gd name="connsiteX9" fmla="*/ 311255 w 563209"/>
                <a:gd name="connsiteY9" fmla="*/ 3175 h 1042663"/>
                <a:gd name="connsiteX10" fmla="*/ 562873 w 563209"/>
                <a:gd name="connsiteY10" fmla="*/ 428625 h 1042663"/>
                <a:gd name="connsiteX11" fmla="*/ 464448 w 563209"/>
                <a:gd name="connsiteY11" fmla="*/ 428625 h 1042663"/>
                <a:gd name="connsiteX12" fmla="*/ 423173 w 563209"/>
                <a:gd name="connsiteY12" fmla="*/ 247650 h 1042663"/>
                <a:gd name="connsiteX13" fmla="*/ 424760 w 563209"/>
                <a:gd name="connsiteY13" fmla="*/ 369888 h 1042663"/>
                <a:gd name="connsiteX14" fmla="*/ 477148 w 563209"/>
                <a:gd name="connsiteY14" fmla="*/ 673100 h 1042663"/>
                <a:gd name="connsiteX15" fmla="*/ 413648 w 563209"/>
                <a:gd name="connsiteY15" fmla="*/ 673100 h 1042663"/>
                <a:gd name="connsiteX16" fmla="*/ 413648 w 563209"/>
                <a:gd name="connsiteY16" fmla="*/ 996950 h 1042663"/>
                <a:gd name="connsiteX17" fmla="*/ 286648 w 563209"/>
                <a:gd name="connsiteY17" fmla="*/ 996950 h 1042663"/>
                <a:gd name="connsiteX18" fmla="*/ 280298 w 563209"/>
                <a:gd name="connsiteY18" fmla="*/ 669925 h 1042663"/>
                <a:gd name="connsiteX19" fmla="*/ 267598 w 563209"/>
                <a:gd name="connsiteY19" fmla="*/ 984250 h 1042663"/>
                <a:gd name="connsiteX20" fmla="*/ 137423 w 563209"/>
                <a:gd name="connsiteY20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80273 w 563209"/>
                <a:gd name="connsiteY2" fmla="*/ 663575 h 1042663"/>
                <a:gd name="connsiteX3" fmla="*/ 134248 w 563209"/>
                <a:gd name="connsiteY3" fmla="*/ 371475 h 1042663"/>
                <a:gd name="connsiteX4" fmla="*/ 134248 w 563209"/>
                <a:gd name="connsiteY4" fmla="*/ 279400 h 1042663"/>
                <a:gd name="connsiteX5" fmla="*/ 96148 w 563209"/>
                <a:gd name="connsiteY5" fmla="*/ 431800 h 1042663"/>
                <a:gd name="connsiteX6" fmla="*/ 898 w 563209"/>
                <a:gd name="connsiteY6" fmla="*/ 431800 h 1042663"/>
                <a:gd name="connsiteX7" fmla="*/ 239023 w 563209"/>
                <a:gd name="connsiteY7" fmla="*/ 0 h 1042663"/>
                <a:gd name="connsiteX8" fmla="*/ 270773 w 563209"/>
                <a:gd name="connsiteY8" fmla="*/ 34925 h 1042663"/>
                <a:gd name="connsiteX9" fmla="*/ 311255 w 563209"/>
                <a:gd name="connsiteY9" fmla="*/ 3175 h 1042663"/>
                <a:gd name="connsiteX10" fmla="*/ 562873 w 563209"/>
                <a:gd name="connsiteY10" fmla="*/ 428625 h 1042663"/>
                <a:gd name="connsiteX11" fmla="*/ 464448 w 563209"/>
                <a:gd name="connsiteY11" fmla="*/ 428625 h 1042663"/>
                <a:gd name="connsiteX12" fmla="*/ 423173 w 563209"/>
                <a:gd name="connsiteY12" fmla="*/ 247650 h 1042663"/>
                <a:gd name="connsiteX13" fmla="*/ 424760 w 563209"/>
                <a:gd name="connsiteY13" fmla="*/ 369888 h 1042663"/>
                <a:gd name="connsiteX14" fmla="*/ 477148 w 563209"/>
                <a:gd name="connsiteY14" fmla="*/ 673100 h 1042663"/>
                <a:gd name="connsiteX15" fmla="*/ 413648 w 563209"/>
                <a:gd name="connsiteY15" fmla="*/ 673100 h 1042663"/>
                <a:gd name="connsiteX16" fmla="*/ 413648 w 563209"/>
                <a:gd name="connsiteY16" fmla="*/ 996950 h 1042663"/>
                <a:gd name="connsiteX17" fmla="*/ 286648 w 563209"/>
                <a:gd name="connsiteY17" fmla="*/ 996950 h 1042663"/>
                <a:gd name="connsiteX18" fmla="*/ 280298 w 563209"/>
                <a:gd name="connsiteY18" fmla="*/ 669925 h 1042663"/>
                <a:gd name="connsiteX19" fmla="*/ 267598 w 563209"/>
                <a:gd name="connsiteY19" fmla="*/ 984250 h 1042663"/>
                <a:gd name="connsiteX20" fmla="*/ 137423 w 563209"/>
                <a:gd name="connsiteY20" fmla="*/ 981075 h 10426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63209" h="1042663">
                  <a:moveTo>
                    <a:pt x="137423" y="981075"/>
                  </a:moveTo>
                  <a:lnTo>
                    <a:pt x="137423" y="663575"/>
                  </a:lnTo>
                  <a:lnTo>
                    <a:pt x="80273" y="663575"/>
                  </a:lnTo>
                  <a:cubicBezTo>
                    <a:pt x="88740" y="592401"/>
                    <a:pt x="101969" y="483130"/>
                    <a:pt x="134248" y="371475"/>
                  </a:cubicBezTo>
                  <a:lnTo>
                    <a:pt x="134248" y="279400"/>
                  </a:lnTo>
                  <a:cubicBezTo>
                    <a:pt x="112023" y="258762"/>
                    <a:pt x="108848" y="381000"/>
                    <a:pt x="96148" y="431800"/>
                  </a:cubicBezTo>
                  <a:cubicBezTo>
                    <a:pt x="73923" y="477043"/>
                    <a:pt x="27886" y="481806"/>
                    <a:pt x="898" y="431800"/>
                  </a:cubicBezTo>
                  <a:cubicBezTo>
                    <a:pt x="-12596" y="194998"/>
                    <a:pt x="128692" y="32014"/>
                    <a:pt x="239023" y="0"/>
                  </a:cubicBezTo>
                  <a:lnTo>
                    <a:pt x="270773" y="34925"/>
                  </a:lnTo>
                  <a:lnTo>
                    <a:pt x="311255" y="3175"/>
                  </a:lnTo>
                  <a:cubicBezTo>
                    <a:pt x="478472" y="28311"/>
                    <a:pt x="569488" y="270139"/>
                    <a:pt x="562873" y="428625"/>
                  </a:cubicBezTo>
                  <a:cubicBezTo>
                    <a:pt x="544353" y="497681"/>
                    <a:pt x="475825" y="492919"/>
                    <a:pt x="464448" y="428625"/>
                  </a:cubicBezTo>
                  <a:cubicBezTo>
                    <a:pt x="457834" y="358775"/>
                    <a:pt x="448838" y="279400"/>
                    <a:pt x="423173" y="247650"/>
                  </a:cubicBezTo>
                  <a:lnTo>
                    <a:pt x="424760" y="369888"/>
                  </a:lnTo>
                  <a:cubicBezTo>
                    <a:pt x="450160" y="485246"/>
                    <a:pt x="468417" y="600605"/>
                    <a:pt x="477148" y="673100"/>
                  </a:cubicBezTo>
                  <a:lnTo>
                    <a:pt x="413648" y="673100"/>
                  </a:lnTo>
                  <a:lnTo>
                    <a:pt x="413648" y="996950"/>
                  </a:lnTo>
                  <a:cubicBezTo>
                    <a:pt x="380840" y="1051719"/>
                    <a:pt x="312312" y="1054100"/>
                    <a:pt x="286648" y="996950"/>
                  </a:cubicBezTo>
                  <a:cubicBezTo>
                    <a:pt x="284531" y="887942"/>
                    <a:pt x="282415" y="659870"/>
                    <a:pt x="280298" y="669925"/>
                  </a:cubicBezTo>
                  <a:cubicBezTo>
                    <a:pt x="257015" y="650875"/>
                    <a:pt x="271831" y="879475"/>
                    <a:pt x="267598" y="984250"/>
                  </a:cubicBezTo>
                  <a:cubicBezTo>
                    <a:pt x="252781" y="1052248"/>
                    <a:pt x="164147" y="1072620"/>
                    <a:pt x="137423" y="981075"/>
                  </a:cubicBezTo>
                  <a:close/>
                </a:path>
              </a:pathLst>
            </a:custGeom>
            <a:solidFill>
              <a:srgbClr val="7C2529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algn="ctr">
                <a:defRPr/>
              </a:pPr>
              <a:endParaRPr lang="en-US" kern="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12" name="Group 111"/>
          <p:cNvGrpSpPr>
            <a:grpSpLocks/>
          </p:cNvGrpSpPr>
          <p:nvPr/>
        </p:nvGrpSpPr>
        <p:grpSpPr>
          <a:xfrm>
            <a:off x="247598" y="2251366"/>
            <a:ext cx="150444" cy="353870"/>
            <a:chOff x="8102504" y="1653116"/>
            <a:chExt cx="192709" cy="453284"/>
          </a:xfrm>
        </p:grpSpPr>
        <p:sp>
          <p:nvSpPr>
            <p:cNvPr id="113" name="Oval 112"/>
            <p:cNvSpPr/>
            <p:nvPr/>
          </p:nvSpPr>
          <p:spPr>
            <a:xfrm>
              <a:off x="8146168" y="1653116"/>
              <a:ext cx="100493" cy="100493"/>
            </a:xfrm>
            <a:prstGeom prst="ellipse">
              <a:avLst/>
            </a:prstGeom>
            <a:solidFill>
              <a:srgbClr val="7C2529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kern="0" dirty="0" smtClean="0">
                <a:solidFill>
                  <a:prstClr val="black"/>
                </a:solidFill>
              </a:endParaRPr>
            </a:p>
          </p:txBody>
        </p:sp>
        <p:sp>
          <p:nvSpPr>
            <p:cNvPr id="114" name="Freeform 113"/>
            <p:cNvSpPr/>
            <p:nvPr/>
          </p:nvSpPr>
          <p:spPr>
            <a:xfrm>
              <a:off x="8102504" y="1755779"/>
              <a:ext cx="192709" cy="350621"/>
            </a:xfrm>
            <a:custGeom>
              <a:avLst/>
              <a:gdLst>
                <a:gd name="connsiteX0" fmla="*/ 136525 w 561975"/>
                <a:gd name="connsiteY0" fmla="*/ 987425 h 1003300"/>
                <a:gd name="connsiteX1" fmla="*/ 136525 w 561975"/>
                <a:gd name="connsiteY1" fmla="*/ 669925 h 1003300"/>
                <a:gd name="connsiteX2" fmla="*/ 79375 w 561975"/>
                <a:gd name="connsiteY2" fmla="*/ 669925 h 1003300"/>
                <a:gd name="connsiteX3" fmla="*/ 133350 w 561975"/>
                <a:gd name="connsiteY3" fmla="*/ 377825 h 1003300"/>
                <a:gd name="connsiteX4" fmla="*/ 133350 w 561975"/>
                <a:gd name="connsiteY4" fmla="*/ 285750 h 1003300"/>
                <a:gd name="connsiteX5" fmla="*/ 95250 w 561975"/>
                <a:gd name="connsiteY5" fmla="*/ 438150 h 1003300"/>
                <a:gd name="connsiteX6" fmla="*/ 0 w 561975"/>
                <a:gd name="connsiteY6" fmla="*/ 438150 h 1003300"/>
                <a:gd name="connsiteX7" fmla="*/ 238125 w 561975"/>
                <a:gd name="connsiteY7" fmla="*/ 6350 h 1003300"/>
                <a:gd name="connsiteX8" fmla="*/ 269875 w 561975"/>
                <a:gd name="connsiteY8" fmla="*/ 41275 h 1003300"/>
                <a:gd name="connsiteX9" fmla="*/ 307975 w 561975"/>
                <a:gd name="connsiteY9" fmla="*/ 0 h 1003300"/>
                <a:gd name="connsiteX10" fmla="*/ 561975 w 561975"/>
                <a:gd name="connsiteY10" fmla="*/ 434975 h 1003300"/>
                <a:gd name="connsiteX11" fmla="*/ 463550 w 561975"/>
                <a:gd name="connsiteY11" fmla="*/ 434975 h 1003300"/>
                <a:gd name="connsiteX12" fmla="*/ 422275 w 561975"/>
                <a:gd name="connsiteY12" fmla="*/ 254000 h 1003300"/>
                <a:gd name="connsiteX13" fmla="*/ 428625 w 561975"/>
                <a:gd name="connsiteY13" fmla="*/ 390525 h 1003300"/>
                <a:gd name="connsiteX14" fmla="*/ 476250 w 561975"/>
                <a:gd name="connsiteY14" fmla="*/ 679450 h 1003300"/>
                <a:gd name="connsiteX15" fmla="*/ 412750 w 561975"/>
                <a:gd name="connsiteY15" fmla="*/ 679450 h 1003300"/>
                <a:gd name="connsiteX16" fmla="*/ 412750 w 561975"/>
                <a:gd name="connsiteY16" fmla="*/ 1003300 h 1003300"/>
                <a:gd name="connsiteX17" fmla="*/ 285750 w 561975"/>
                <a:gd name="connsiteY17" fmla="*/ 1003300 h 1003300"/>
                <a:gd name="connsiteX18" fmla="*/ 279400 w 561975"/>
                <a:gd name="connsiteY18" fmla="*/ 676275 h 1003300"/>
                <a:gd name="connsiteX19" fmla="*/ 266700 w 561975"/>
                <a:gd name="connsiteY19" fmla="*/ 990600 h 1003300"/>
                <a:gd name="connsiteX20" fmla="*/ 136525 w 561975"/>
                <a:gd name="connsiteY20" fmla="*/ 987425 h 1003300"/>
                <a:gd name="connsiteX0" fmla="*/ 136525 w 561975"/>
                <a:gd name="connsiteY0" fmla="*/ 987425 h 1003300"/>
                <a:gd name="connsiteX1" fmla="*/ 136525 w 561975"/>
                <a:gd name="connsiteY1" fmla="*/ 669925 h 1003300"/>
                <a:gd name="connsiteX2" fmla="*/ 79375 w 561975"/>
                <a:gd name="connsiteY2" fmla="*/ 669925 h 1003300"/>
                <a:gd name="connsiteX3" fmla="*/ 133350 w 561975"/>
                <a:gd name="connsiteY3" fmla="*/ 377825 h 1003300"/>
                <a:gd name="connsiteX4" fmla="*/ 133350 w 561975"/>
                <a:gd name="connsiteY4" fmla="*/ 285750 h 1003300"/>
                <a:gd name="connsiteX5" fmla="*/ 95250 w 561975"/>
                <a:gd name="connsiteY5" fmla="*/ 438150 h 1003300"/>
                <a:gd name="connsiteX6" fmla="*/ 0 w 561975"/>
                <a:gd name="connsiteY6" fmla="*/ 438150 h 1003300"/>
                <a:gd name="connsiteX7" fmla="*/ 238125 w 561975"/>
                <a:gd name="connsiteY7" fmla="*/ 6350 h 1003300"/>
                <a:gd name="connsiteX8" fmla="*/ 269875 w 561975"/>
                <a:gd name="connsiteY8" fmla="*/ 41275 h 1003300"/>
                <a:gd name="connsiteX9" fmla="*/ 307975 w 561975"/>
                <a:gd name="connsiteY9" fmla="*/ 0 h 1003300"/>
                <a:gd name="connsiteX10" fmla="*/ 561975 w 561975"/>
                <a:gd name="connsiteY10" fmla="*/ 434975 h 1003300"/>
                <a:gd name="connsiteX11" fmla="*/ 463550 w 561975"/>
                <a:gd name="connsiteY11" fmla="*/ 434975 h 1003300"/>
                <a:gd name="connsiteX12" fmla="*/ 422275 w 561975"/>
                <a:gd name="connsiteY12" fmla="*/ 254000 h 1003300"/>
                <a:gd name="connsiteX13" fmla="*/ 428625 w 561975"/>
                <a:gd name="connsiteY13" fmla="*/ 390525 h 1003300"/>
                <a:gd name="connsiteX14" fmla="*/ 476250 w 561975"/>
                <a:gd name="connsiteY14" fmla="*/ 679450 h 1003300"/>
                <a:gd name="connsiteX15" fmla="*/ 412750 w 561975"/>
                <a:gd name="connsiteY15" fmla="*/ 679450 h 1003300"/>
                <a:gd name="connsiteX16" fmla="*/ 412750 w 561975"/>
                <a:gd name="connsiteY16" fmla="*/ 1003300 h 1003300"/>
                <a:gd name="connsiteX17" fmla="*/ 285750 w 561975"/>
                <a:gd name="connsiteY17" fmla="*/ 1003300 h 1003300"/>
                <a:gd name="connsiteX18" fmla="*/ 279400 w 561975"/>
                <a:gd name="connsiteY18" fmla="*/ 676275 h 1003300"/>
                <a:gd name="connsiteX19" fmla="*/ 266700 w 561975"/>
                <a:gd name="connsiteY19" fmla="*/ 990600 h 1003300"/>
                <a:gd name="connsiteX20" fmla="*/ 136525 w 561975"/>
                <a:gd name="connsiteY20" fmla="*/ 987425 h 1003300"/>
                <a:gd name="connsiteX0" fmla="*/ 136525 w 561975"/>
                <a:gd name="connsiteY0" fmla="*/ 987425 h 1003300"/>
                <a:gd name="connsiteX1" fmla="*/ 136525 w 561975"/>
                <a:gd name="connsiteY1" fmla="*/ 669925 h 1003300"/>
                <a:gd name="connsiteX2" fmla="*/ 79375 w 561975"/>
                <a:gd name="connsiteY2" fmla="*/ 669925 h 1003300"/>
                <a:gd name="connsiteX3" fmla="*/ 133350 w 561975"/>
                <a:gd name="connsiteY3" fmla="*/ 377825 h 1003300"/>
                <a:gd name="connsiteX4" fmla="*/ 133350 w 561975"/>
                <a:gd name="connsiteY4" fmla="*/ 285750 h 1003300"/>
                <a:gd name="connsiteX5" fmla="*/ 95250 w 561975"/>
                <a:gd name="connsiteY5" fmla="*/ 438150 h 1003300"/>
                <a:gd name="connsiteX6" fmla="*/ 0 w 561975"/>
                <a:gd name="connsiteY6" fmla="*/ 438150 h 1003300"/>
                <a:gd name="connsiteX7" fmla="*/ 238125 w 561975"/>
                <a:gd name="connsiteY7" fmla="*/ 6350 h 1003300"/>
                <a:gd name="connsiteX8" fmla="*/ 269875 w 561975"/>
                <a:gd name="connsiteY8" fmla="*/ 41275 h 1003300"/>
                <a:gd name="connsiteX9" fmla="*/ 307975 w 561975"/>
                <a:gd name="connsiteY9" fmla="*/ 0 h 1003300"/>
                <a:gd name="connsiteX10" fmla="*/ 561975 w 561975"/>
                <a:gd name="connsiteY10" fmla="*/ 434975 h 1003300"/>
                <a:gd name="connsiteX11" fmla="*/ 463550 w 561975"/>
                <a:gd name="connsiteY11" fmla="*/ 434975 h 1003300"/>
                <a:gd name="connsiteX12" fmla="*/ 422275 w 561975"/>
                <a:gd name="connsiteY12" fmla="*/ 254000 h 1003300"/>
                <a:gd name="connsiteX13" fmla="*/ 428625 w 561975"/>
                <a:gd name="connsiteY13" fmla="*/ 390525 h 1003300"/>
                <a:gd name="connsiteX14" fmla="*/ 476250 w 561975"/>
                <a:gd name="connsiteY14" fmla="*/ 679450 h 1003300"/>
                <a:gd name="connsiteX15" fmla="*/ 412750 w 561975"/>
                <a:gd name="connsiteY15" fmla="*/ 679450 h 1003300"/>
                <a:gd name="connsiteX16" fmla="*/ 412750 w 561975"/>
                <a:gd name="connsiteY16" fmla="*/ 1003300 h 1003300"/>
                <a:gd name="connsiteX17" fmla="*/ 285750 w 561975"/>
                <a:gd name="connsiteY17" fmla="*/ 1003300 h 1003300"/>
                <a:gd name="connsiteX18" fmla="*/ 279400 w 561975"/>
                <a:gd name="connsiteY18" fmla="*/ 676275 h 1003300"/>
                <a:gd name="connsiteX19" fmla="*/ 266700 w 561975"/>
                <a:gd name="connsiteY19" fmla="*/ 990600 h 1003300"/>
                <a:gd name="connsiteX20" fmla="*/ 136525 w 561975"/>
                <a:gd name="connsiteY20" fmla="*/ 987425 h 1003300"/>
                <a:gd name="connsiteX0" fmla="*/ 136525 w 561975"/>
                <a:gd name="connsiteY0" fmla="*/ 987425 h 1003300"/>
                <a:gd name="connsiteX1" fmla="*/ 136525 w 561975"/>
                <a:gd name="connsiteY1" fmla="*/ 669925 h 1003300"/>
                <a:gd name="connsiteX2" fmla="*/ 79375 w 561975"/>
                <a:gd name="connsiteY2" fmla="*/ 669925 h 1003300"/>
                <a:gd name="connsiteX3" fmla="*/ 133350 w 561975"/>
                <a:gd name="connsiteY3" fmla="*/ 377825 h 1003300"/>
                <a:gd name="connsiteX4" fmla="*/ 133350 w 561975"/>
                <a:gd name="connsiteY4" fmla="*/ 285750 h 1003300"/>
                <a:gd name="connsiteX5" fmla="*/ 95250 w 561975"/>
                <a:gd name="connsiteY5" fmla="*/ 438150 h 1003300"/>
                <a:gd name="connsiteX6" fmla="*/ 0 w 561975"/>
                <a:gd name="connsiteY6" fmla="*/ 438150 h 1003300"/>
                <a:gd name="connsiteX7" fmla="*/ 238125 w 561975"/>
                <a:gd name="connsiteY7" fmla="*/ 6350 h 1003300"/>
                <a:gd name="connsiteX8" fmla="*/ 269875 w 561975"/>
                <a:gd name="connsiteY8" fmla="*/ 41275 h 1003300"/>
                <a:gd name="connsiteX9" fmla="*/ 307975 w 561975"/>
                <a:gd name="connsiteY9" fmla="*/ 0 h 1003300"/>
                <a:gd name="connsiteX10" fmla="*/ 561975 w 561975"/>
                <a:gd name="connsiteY10" fmla="*/ 434975 h 1003300"/>
                <a:gd name="connsiteX11" fmla="*/ 463550 w 561975"/>
                <a:gd name="connsiteY11" fmla="*/ 434975 h 1003300"/>
                <a:gd name="connsiteX12" fmla="*/ 422275 w 561975"/>
                <a:gd name="connsiteY12" fmla="*/ 254000 h 1003300"/>
                <a:gd name="connsiteX13" fmla="*/ 428625 w 561975"/>
                <a:gd name="connsiteY13" fmla="*/ 390525 h 1003300"/>
                <a:gd name="connsiteX14" fmla="*/ 476250 w 561975"/>
                <a:gd name="connsiteY14" fmla="*/ 679450 h 1003300"/>
                <a:gd name="connsiteX15" fmla="*/ 412750 w 561975"/>
                <a:gd name="connsiteY15" fmla="*/ 679450 h 1003300"/>
                <a:gd name="connsiteX16" fmla="*/ 412750 w 561975"/>
                <a:gd name="connsiteY16" fmla="*/ 1003300 h 1003300"/>
                <a:gd name="connsiteX17" fmla="*/ 285750 w 561975"/>
                <a:gd name="connsiteY17" fmla="*/ 1003300 h 1003300"/>
                <a:gd name="connsiteX18" fmla="*/ 279400 w 561975"/>
                <a:gd name="connsiteY18" fmla="*/ 676275 h 1003300"/>
                <a:gd name="connsiteX19" fmla="*/ 266700 w 561975"/>
                <a:gd name="connsiteY19" fmla="*/ 990600 h 1003300"/>
                <a:gd name="connsiteX20" fmla="*/ 136525 w 561975"/>
                <a:gd name="connsiteY20" fmla="*/ 987425 h 1003300"/>
                <a:gd name="connsiteX0" fmla="*/ 136525 w 561975"/>
                <a:gd name="connsiteY0" fmla="*/ 987425 h 1003300"/>
                <a:gd name="connsiteX1" fmla="*/ 136525 w 561975"/>
                <a:gd name="connsiteY1" fmla="*/ 669925 h 1003300"/>
                <a:gd name="connsiteX2" fmla="*/ 79375 w 561975"/>
                <a:gd name="connsiteY2" fmla="*/ 669925 h 1003300"/>
                <a:gd name="connsiteX3" fmla="*/ 133350 w 561975"/>
                <a:gd name="connsiteY3" fmla="*/ 377825 h 1003300"/>
                <a:gd name="connsiteX4" fmla="*/ 133350 w 561975"/>
                <a:gd name="connsiteY4" fmla="*/ 285750 h 1003300"/>
                <a:gd name="connsiteX5" fmla="*/ 95250 w 561975"/>
                <a:gd name="connsiteY5" fmla="*/ 438150 h 1003300"/>
                <a:gd name="connsiteX6" fmla="*/ 0 w 561975"/>
                <a:gd name="connsiteY6" fmla="*/ 438150 h 1003300"/>
                <a:gd name="connsiteX7" fmla="*/ 238125 w 561975"/>
                <a:gd name="connsiteY7" fmla="*/ 6350 h 1003300"/>
                <a:gd name="connsiteX8" fmla="*/ 269875 w 561975"/>
                <a:gd name="connsiteY8" fmla="*/ 41275 h 1003300"/>
                <a:gd name="connsiteX9" fmla="*/ 307975 w 561975"/>
                <a:gd name="connsiteY9" fmla="*/ 0 h 1003300"/>
                <a:gd name="connsiteX10" fmla="*/ 561975 w 561975"/>
                <a:gd name="connsiteY10" fmla="*/ 434975 h 1003300"/>
                <a:gd name="connsiteX11" fmla="*/ 463550 w 561975"/>
                <a:gd name="connsiteY11" fmla="*/ 434975 h 1003300"/>
                <a:gd name="connsiteX12" fmla="*/ 422275 w 561975"/>
                <a:gd name="connsiteY12" fmla="*/ 254000 h 1003300"/>
                <a:gd name="connsiteX13" fmla="*/ 428625 w 561975"/>
                <a:gd name="connsiteY13" fmla="*/ 390525 h 1003300"/>
                <a:gd name="connsiteX14" fmla="*/ 476250 w 561975"/>
                <a:gd name="connsiteY14" fmla="*/ 679450 h 1003300"/>
                <a:gd name="connsiteX15" fmla="*/ 412750 w 561975"/>
                <a:gd name="connsiteY15" fmla="*/ 679450 h 1003300"/>
                <a:gd name="connsiteX16" fmla="*/ 412750 w 561975"/>
                <a:gd name="connsiteY16" fmla="*/ 1003300 h 1003300"/>
                <a:gd name="connsiteX17" fmla="*/ 285750 w 561975"/>
                <a:gd name="connsiteY17" fmla="*/ 1003300 h 1003300"/>
                <a:gd name="connsiteX18" fmla="*/ 279400 w 561975"/>
                <a:gd name="connsiteY18" fmla="*/ 676275 h 1003300"/>
                <a:gd name="connsiteX19" fmla="*/ 266700 w 561975"/>
                <a:gd name="connsiteY19" fmla="*/ 990600 h 1003300"/>
                <a:gd name="connsiteX20" fmla="*/ 136525 w 561975"/>
                <a:gd name="connsiteY20" fmla="*/ 987425 h 1003300"/>
                <a:gd name="connsiteX0" fmla="*/ 136525 w 561975"/>
                <a:gd name="connsiteY0" fmla="*/ 987425 h 1003300"/>
                <a:gd name="connsiteX1" fmla="*/ 136525 w 561975"/>
                <a:gd name="connsiteY1" fmla="*/ 669925 h 1003300"/>
                <a:gd name="connsiteX2" fmla="*/ 79375 w 561975"/>
                <a:gd name="connsiteY2" fmla="*/ 669925 h 1003300"/>
                <a:gd name="connsiteX3" fmla="*/ 133350 w 561975"/>
                <a:gd name="connsiteY3" fmla="*/ 377825 h 1003300"/>
                <a:gd name="connsiteX4" fmla="*/ 133350 w 561975"/>
                <a:gd name="connsiteY4" fmla="*/ 285750 h 1003300"/>
                <a:gd name="connsiteX5" fmla="*/ 95250 w 561975"/>
                <a:gd name="connsiteY5" fmla="*/ 438150 h 1003300"/>
                <a:gd name="connsiteX6" fmla="*/ 0 w 561975"/>
                <a:gd name="connsiteY6" fmla="*/ 438150 h 1003300"/>
                <a:gd name="connsiteX7" fmla="*/ 238125 w 561975"/>
                <a:gd name="connsiteY7" fmla="*/ 6350 h 1003300"/>
                <a:gd name="connsiteX8" fmla="*/ 269875 w 561975"/>
                <a:gd name="connsiteY8" fmla="*/ 41275 h 1003300"/>
                <a:gd name="connsiteX9" fmla="*/ 307975 w 561975"/>
                <a:gd name="connsiteY9" fmla="*/ 0 h 1003300"/>
                <a:gd name="connsiteX10" fmla="*/ 561975 w 561975"/>
                <a:gd name="connsiteY10" fmla="*/ 434975 h 1003300"/>
                <a:gd name="connsiteX11" fmla="*/ 463550 w 561975"/>
                <a:gd name="connsiteY11" fmla="*/ 434975 h 1003300"/>
                <a:gd name="connsiteX12" fmla="*/ 422275 w 561975"/>
                <a:gd name="connsiteY12" fmla="*/ 254000 h 1003300"/>
                <a:gd name="connsiteX13" fmla="*/ 428625 w 561975"/>
                <a:gd name="connsiteY13" fmla="*/ 390525 h 1003300"/>
                <a:gd name="connsiteX14" fmla="*/ 476250 w 561975"/>
                <a:gd name="connsiteY14" fmla="*/ 679450 h 1003300"/>
                <a:gd name="connsiteX15" fmla="*/ 412750 w 561975"/>
                <a:gd name="connsiteY15" fmla="*/ 679450 h 1003300"/>
                <a:gd name="connsiteX16" fmla="*/ 412750 w 561975"/>
                <a:gd name="connsiteY16" fmla="*/ 1003300 h 1003300"/>
                <a:gd name="connsiteX17" fmla="*/ 285750 w 561975"/>
                <a:gd name="connsiteY17" fmla="*/ 1003300 h 1003300"/>
                <a:gd name="connsiteX18" fmla="*/ 279400 w 561975"/>
                <a:gd name="connsiteY18" fmla="*/ 676275 h 1003300"/>
                <a:gd name="connsiteX19" fmla="*/ 266700 w 561975"/>
                <a:gd name="connsiteY19" fmla="*/ 990600 h 1003300"/>
                <a:gd name="connsiteX20" fmla="*/ 136525 w 561975"/>
                <a:gd name="connsiteY20" fmla="*/ 987425 h 1003300"/>
                <a:gd name="connsiteX0" fmla="*/ 137274 w 562724"/>
                <a:gd name="connsiteY0" fmla="*/ 987425 h 1003300"/>
                <a:gd name="connsiteX1" fmla="*/ 137274 w 562724"/>
                <a:gd name="connsiteY1" fmla="*/ 669925 h 1003300"/>
                <a:gd name="connsiteX2" fmla="*/ 80124 w 562724"/>
                <a:gd name="connsiteY2" fmla="*/ 669925 h 1003300"/>
                <a:gd name="connsiteX3" fmla="*/ 134099 w 562724"/>
                <a:gd name="connsiteY3" fmla="*/ 377825 h 1003300"/>
                <a:gd name="connsiteX4" fmla="*/ 134099 w 562724"/>
                <a:gd name="connsiteY4" fmla="*/ 285750 h 1003300"/>
                <a:gd name="connsiteX5" fmla="*/ 95999 w 562724"/>
                <a:gd name="connsiteY5" fmla="*/ 438150 h 1003300"/>
                <a:gd name="connsiteX6" fmla="*/ 749 w 562724"/>
                <a:gd name="connsiteY6" fmla="*/ 438150 h 1003300"/>
                <a:gd name="connsiteX7" fmla="*/ 238874 w 562724"/>
                <a:gd name="connsiteY7" fmla="*/ 6350 h 1003300"/>
                <a:gd name="connsiteX8" fmla="*/ 270624 w 562724"/>
                <a:gd name="connsiteY8" fmla="*/ 41275 h 1003300"/>
                <a:gd name="connsiteX9" fmla="*/ 308724 w 562724"/>
                <a:gd name="connsiteY9" fmla="*/ 0 h 1003300"/>
                <a:gd name="connsiteX10" fmla="*/ 562724 w 562724"/>
                <a:gd name="connsiteY10" fmla="*/ 434975 h 1003300"/>
                <a:gd name="connsiteX11" fmla="*/ 464299 w 562724"/>
                <a:gd name="connsiteY11" fmla="*/ 434975 h 1003300"/>
                <a:gd name="connsiteX12" fmla="*/ 423024 w 562724"/>
                <a:gd name="connsiteY12" fmla="*/ 254000 h 1003300"/>
                <a:gd name="connsiteX13" fmla="*/ 429374 w 562724"/>
                <a:gd name="connsiteY13" fmla="*/ 390525 h 1003300"/>
                <a:gd name="connsiteX14" fmla="*/ 476999 w 562724"/>
                <a:gd name="connsiteY14" fmla="*/ 679450 h 1003300"/>
                <a:gd name="connsiteX15" fmla="*/ 413499 w 562724"/>
                <a:gd name="connsiteY15" fmla="*/ 679450 h 1003300"/>
                <a:gd name="connsiteX16" fmla="*/ 413499 w 562724"/>
                <a:gd name="connsiteY16" fmla="*/ 1003300 h 1003300"/>
                <a:gd name="connsiteX17" fmla="*/ 286499 w 562724"/>
                <a:gd name="connsiteY17" fmla="*/ 1003300 h 1003300"/>
                <a:gd name="connsiteX18" fmla="*/ 280149 w 562724"/>
                <a:gd name="connsiteY18" fmla="*/ 676275 h 1003300"/>
                <a:gd name="connsiteX19" fmla="*/ 267449 w 562724"/>
                <a:gd name="connsiteY19" fmla="*/ 990600 h 1003300"/>
                <a:gd name="connsiteX20" fmla="*/ 137274 w 562724"/>
                <a:gd name="connsiteY20" fmla="*/ 987425 h 1003300"/>
                <a:gd name="connsiteX0" fmla="*/ 137423 w 562873"/>
                <a:gd name="connsiteY0" fmla="*/ 987425 h 1003300"/>
                <a:gd name="connsiteX1" fmla="*/ 137423 w 562873"/>
                <a:gd name="connsiteY1" fmla="*/ 669925 h 1003300"/>
                <a:gd name="connsiteX2" fmla="*/ 80273 w 562873"/>
                <a:gd name="connsiteY2" fmla="*/ 669925 h 1003300"/>
                <a:gd name="connsiteX3" fmla="*/ 134248 w 562873"/>
                <a:gd name="connsiteY3" fmla="*/ 377825 h 1003300"/>
                <a:gd name="connsiteX4" fmla="*/ 134248 w 562873"/>
                <a:gd name="connsiteY4" fmla="*/ 285750 h 1003300"/>
                <a:gd name="connsiteX5" fmla="*/ 96148 w 562873"/>
                <a:gd name="connsiteY5" fmla="*/ 438150 h 1003300"/>
                <a:gd name="connsiteX6" fmla="*/ 898 w 562873"/>
                <a:gd name="connsiteY6" fmla="*/ 438150 h 1003300"/>
                <a:gd name="connsiteX7" fmla="*/ 239023 w 562873"/>
                <a:gd name="connsiteY7" fmla="*/ 6350 h 1003300"/>
                <a:gd name="connsiteX8" fmla="*/ 270773 w 562873"/>
                <a:gd name="connsiteY8" fmla="*/ 41275 h 1003300"/>
                <a:gd name="connsiteX9" fmla="*/ 308873 w 562873"/>
                <a:gd name="connsiteY9" fmla="*/ 0 h 1003300"/>
                <a:gd name="connsiteX10" fmla="*/ 562873 w 562873"/>
                <a:gd name="connsiteY10" fmla="*/ 434975 h 1003300"/>
                <a:gd name="connsiteX11" fmla="*/ 464448 w 562873"/>
                <a:gd name="connsiteY11" fmla="*/ 434975 h 1003300"/>
                <a:gd name="connsiteX12" fmla="*/ 423173 w 562873"/>
                <a:gd name="connsiteY12" fmla="*/ 254000 h 1003300"/>
                <a:gd name="connsiteX13" fmla="*/ 429523 w 562873"/>
                <a:gd name="connsiteY13" fmla="*/ 390525 h 1003300"/>
                <a:gd name="connsiteX14" fmla="*/ 477148 w 562873"/>
                <a:gd name="connsiteY14" fmla="*/ 679450 h 1003300"/>
                <a:gd name="connsiteX15" fmla="*/ 413648 w 562873"/>
                <a:gd name="connsiteY15" fmla="*/ 679450 h 1003300"/>
                <a:gd name="connsiteX16" fmla="*/ 413648 w 562873"/>
                <a:gd name="connsiteY16" fmla="*/ 1003300 h 1003300"/>
                <a:gd name="connsiteX17" fmla="*/ 286648 w 562873"/>
                <a:gd name="connsiteY17" fmla="*/ 1003300 h 1003300"/>
                <a:gd name="connsiteX18" fmla="*/ 280298 w 562873"/>
                <a:gd name="connsiteY18" fmla="*/ 676275 h 1003300"/>
                <a:gd name="connsiteX19" fmla="*/ 267598 w 562873"/>
                <a:gd name="connsiteY19" fmla="*/ 990600 h 1003300"/>
                <a:gd name="connsiteX20" fmla="*/ 137423 w 562873"/>
                <a:gd name="connsiteY20" fmla="*/ 987425 h 1003300"/>
                <a:gd name="connsiteX0" fmla="*/ 137423 w 562873"/>
                <a:gd name="connsiteY0" fmla="*/ 981075 h 996950"/>
                <a:gd name="connsiteX1" fmla="*/ 137423 w 562873"/>
                <a:gd name="connsiteY1" fmla="*/ 663575 h 996950"/>
                <a:gd name="connsiteX2" fmla="*/ 80273 w 562873"/>
                <a:gd name="connsiteY2" fmla="*/ 663575 h 996950"/>
                <a:gd name="connsiteX3" fmla="*/ 134248 w 562873"/>
                <a:gd name="connsiteY3" fmla="*/ 371475 h 996950"/>
                <a:gd name="connsiteX4" fmla="*/ 134248 w 562873"/>
                <a:gd name="connsiteY4" fmla="*/ 279400 h 996950"/>
                <a:gd name="connsiteX5" fmla="*/ 96148 w 562873"/>
                <a:gd name="connsiteY5" fmla="*/ 431800 h 996950"/>
                <a:gd name="connsiteX6" fmla="*/ 898 w 562873"/>
                <a:gd name="connsiteY6" fmla="*/ 431800 h 996950"/>
                <a:gd name="connsiteX7" fmla="*/ 239023 w 562873"/>
                <a:gd name="connsiteY7" fmla="*/ 0 h 996950"/>
                <a:gd name="connsiteX8" fmla="*/ 270773 w 562873"/>
                <a:gd name="connsiteY8" fmla="*/ 34925 h 996950"/>
                <a:gd name="connsiteX9" fmla="*/ 311255 w 562873"/>
                <a:gd name="connsiteY9" fmla="*/ 3175 h 996950"/>
                <a:gd name="connsiteX10" fmla="*/ 562873 w 562873"/>
                <a:gd name="connsiteY10" fmla="*/ 428625 h 996950"/>
                <a:gd name="connsiteX11" fmla="*/ 464448 w 562873"/>
                <a:gd name="connsiteY11" fmla="*/ 428625 h 996950"/>
                <a:gd name="connsiteX12" fmla="*/ 423173 w 562873"/>
                <a:gd name="connsiteY12" fmla="*/ 247650 h 996950"/>
                <a:gd name="connsiteX13" fmla="*/ 429523 w 562873"/>
                <a:gd name="connsiteY13" fmla="*/ 384175 h 996950"/>
                <a:gd name="connsiteX14" fmla="*/ 477148 w 562873"/>
                <a:gd name="connsiteY14" fmla="*/ 673100 h 996950"/>
                <a:gd name="connsiteX15" fmla="*/ 413648 w 562873"/>
                <a:gd name="connsiteY15" fmla="*/ 673100 h 996950"/>
                <a:gd name="connsiteX16" fmla="*/ 413648 w 562873"/>
                <a:gd name="connsiteY16" fmla="*/ 996950 h 996950"/>
                <a:gd name="connsiteX17" fmla="*/ 286648 w 562873"/>
                <a:gd name="connsiteY17" fmla="*/ 996950 h 996950"/>
                <a:gd name="connsiteX18" fmla="*/ 280298 w 562873"/>
                <a:gd name="connsiteY18" fmla="*/ 669925 h 996950"/>
                <a:gd name="connsiteX19" fmla="*/ 267598 w 562873"/>
                <a:gd name="connsiteY19" fmla="*/ 984250 h 996950"/>
                <a:gd name="connsiteX20" fmla="*/ 137423 w 562873"/>
                <a:gd name="connsiteY20" fmla="*/ 981075 h 996950"/>
                <a:gd name="connsiteX0" fmla="*/ 137423 w 562873"/>
                <a:gd name="connsiteY0" fmla="*/ 981075 h 996950"/>
                <a:gd name="connsiteX1" fmla="*/ 137423 w 562873"/>
                <a:gd name="connsiteY1" fmla="*/ 663575 h 996950"/>
                <a:gd name="connsiteX2" fmla="*/ 80273 w 562873"/>
                <a:gd name="connsiteY2" fmla="*/ 663575 h 996950"/>
                <a:gd name="connsiteX3" fmla="*/ 134248 w 562873"/>
                <a:gd name="connsiteY3" fmla="*/ 371475 h 996950"/>
                <a:gd name="connsiteX4" fmla="*/ 134248 w 562873"/>
                <a:gd name="connsiteY4" fmla="*/ 279400 h 996950"/>
                <a:gd name="connsiteX5" fmla="*/ 96148 w 562873"/>
                <a:gd name="connsiteY5" fmla="*/ 431800 h 996950"/>
                <a:gd name="connsiteX6" fmla="*/ 898 w 562873"/>
                <a:gd name="connsiteY6" fmla="*/ 431800 h 996950"/>
                <a:gd name="connsiteX7" fmla="*/ 239023 w 562873"/>
                <a:gd name="connsiteY7" fmla="*/ 0 h 996950"/>
                <a:gd name="connsiteX8" fmla="*/ 270773 w 562873"/>
                <a:gd name="connsiteY8" fmla="*/ 34925 h 996950"/>
                <a:gd name="connsiteX9" fmla="*/ 311255 w 562873"/>
                <a:gd name="connsiteY9" fmla="*/ 3175 h 996950"/>
                <a:gd name="connsiteX10" fmla="*/ 562873 w 562873"/>
                <a:gd name="connsiteY10" fmla="*/ 428625 h 996950"/>
                <a:gd name="connsiteX11" fmla="*/ 464448 w 562873"/>
                <a:gd name="connsiteY11" fmla="*/ 428625 h 996950"/>
                <a:gd name="connsiteX12" fmla="*/ 423173 w 562873"/>
                <a:gd name="connsiteY12" fmla="*/ 247650 h 996950"/>
                <a:gd name="connsiteX13" fmla="*/ 429523 w 562873"/>
                <a:gd name="connsiteY13" fmla="*/ 384175 h 996950"/>
                <a:gd name="connsiteX14" fmla="*/ 477148 w 562873"/>
                <a:gd name="connsiteY14" fmla="*/ 673100 h 996950"/>
                <a:gd name="connsiteX15" fmla="*/ 413648 w 562873"/>
                <a:gd name="connsiteY15" fmla="*/ 673100 h 996950"/>
                <a:gd name="connsiteX16" fmla="*/ 413648 w 562873"/>
                <a:gd name="connsiteY16" fmla="*/ 996950 h 996950"/>
                <a:gd name="connsiteX17" fmla="*/ 286648 w 562873"/>
                <a:gd name="connsiteY17" fmla="*/ 996950 h 996950"/>
                <a:gd name="connsiteX18" fmla="*/ 280298 w 562873"/>
                <a:gd name="connsiteY18" fmla="*/ 669925 h 996950"/>
                <a:gd name="connsiteX19" fmla="*/ 267598 w 562873"/>
                <a:gd name="connsiteY19" fmla="*/ 984250 h 996950"/>
                <a:gd name="connsiteX20" fmla="*/ 137423 w 562873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9523 w 563209"/>
                <a:gd name="connsiteY13" fmla="*/ 384175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9523 w 563209"/>
                <a:gd name="connsiteY13" fmla="*/ 384175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9523 w 563209"/>
                <a:gd name="connsiteY13" fmla="*/ 384175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9523 w 563209"/>
                <a:gd name="connsiteY13" fmla="*/ 384175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9523 w 563209"/>
                <a:gd name="connsiteY13" fmla="*/ 384175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9523 w 563209"/>
                <a:gd name="connsiteY13" fmla="*/ 384175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9523 w 563209"/>
                <a:gd name="connsiteY13" fmla="*/ 384175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9523 w 563209"/>
                <a:gd name="connsiteY13" fmla="*/ 384175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996950"/>
                <a:gd name="connsiteX1" fmla="*/ 137423 w 563209"/>
                <a:gd name="connsiteY1" fmla="*/ 663575 h 996950"/>
                <a:gd name="connsiteX2" fmla="*/ 80273 w 563209"/>
                <a:gd name="connsiteY2" fmla="*/ 663575 h 996950"/>
                <a:gd name="connsiteX3" fmla="*/ 134248 w 563209"/>
                <a:gd name="connsiteY3" fmla="*/ 371475 h 996950"/>
                <a:gd name="connsiteX4" fmla="*/ 134248 w 563209"/>
                <a:gd name="connsiteY4" fmla="*/ 279400 h 996950"/>
                <a:gd name="connsiteX5" fmla="*/ 96148 w 563209"/>
                <a:gd name="connsiteY5" fmla="*/ 431800 h 996950"/>
                <a:gd name="connsiteX6" fmla="*/ 898 w 563209"/>
                <a:gd name="connsiteY6" fmla="*/ 431800 h 996950"/>
                <a:gd name="connsiteX7" fmla="*/ 239023 w 563209"/>
                <a:gd name="connsiteY7" fmla="*/ 0 h 996950"/>
                <a:gd name="connsiteX8" fmla="*/ 270773 w 563209"/>
                <a:gd name="connsiteY8" fmla="*/ 34925 h 996950"/>
                <a:gd name="connsiteX9" fmla="*/ 311255 w 563209"/>
                <a:gd name="connsiteY9" fmla="*/ 3175 h 996950"/>
                <a:gd name="connsiteX10" fmla="*/ 562873 w 563209"/>
                <a:gd name="connsiteY10" fmla="*/ 428625 h 996950"/>
                <a:gd name="connsiteX11" fmla="*/ 464448 w 563209"/>
                <a:gd name="connsiteY11" fmla="*/ 428625 h 996950"/>
                <a:gd name="connsiteX12" fmla="*/ 423173 w 563209"/>
                <a:gd name="connsiteY12" fmla="*/ 247650 h 996950"/>
                <a:gd name="connsiteX13" fmla="*/ 424760 w 563209"/>
                <a:gd name="connsiteY13" fmla="*/ 369888 h 996950"/>
                <a:gd name="connsiteX14" fmla="*/ 477148 w 563209"/>
                <a:gd name="connsiteY14" fmla="*/ 673100 h 996950"/>
                <a:gd name="connsiteX15" fmla="*/ 413648 w 563209"/>
                <a:gd name="connsiteY15" fmla="*/ 673100 h 996950"/>
                <a:gd name="connsiteX16" fmla="*/ 413648 w 563209"/>
                <a:gd name="connsiteY16" fmla="*/ 996950 h 996950"/>
                <a:gd name="connsiteX17" fmla="*/ 286648 w 563209"/>
                <a:gd name="connsiteY17" fmla="*/ 996950 h 996950"/>
                <a:gd name="connsiteX18" fmla="*/ 280298 w 563209"/>
                <a:gd name="connsiteY18" fmla="*/ 669925 h 996950"/>
                <a:gd name="connsiteX19" fmla="*/ 267598 w 563209"/>
                <a:gd name="connsiteY19" fmla="*/ 984250 h 996950"/>
                <a:gd name="connsiteX20" fmla="*/ 137423 w 563209"/>
                <a:gd name="connsiteY20" fmla="*/ 981075 h 996950"/>
                <a:gd name="connsiteX0" fmla="*/ 137423 w 563209"/>
                <a:gd name="connsiteY0" fmla="*/ 981075 h 1022359"/>
                <a:gd name="connsiteX1" fmla="*/ 137423 w 563209"/>
                <a:gd name="connsiteY1" fmla="*/ 663575 h 1022359"/>
                <a:gd name="connsiteX2" fmla="*/ 80273 w 563209"/>
                <a:gd name="connsiteY2" fmla="*/ 663575 h 1022359"/>
                <a:gd name="connsiteX3" fmla="*/ 134248 w 563209"/>
                <a:gd name="connsiteY3" fmla="*/ 371475 h 1022359"/>
                <a:gd name="connsiteX4" fmla="*/ 134248 w 563209"/>
                <a:gd name="connsiteY4" fmla="*/ 279400 h 1022359"/>
                <a:gd name="connsiteX5" fmla="*/ 96148 w 563209"/>
                <a:gd name="connsiteY5" fmla="*/ 431800 h 1022359"/>
                <a:gd name="connsiteX6" fmla="*/ 898 w 563209"/>
                <a:gd name="connsiteY6" fmla="*/ 431800 h 1022359"/>
                <a:gd name="connsiteX7" fmla="*/ 239023 w 563209"/>
                <a:gd name="connsiteY7" fmla="*/ 0 h 1022359"/>
                <a:gd name="connsiteX8" fmla="*/ 270773 w 563209"/>
                <a:gd name="connsiteY8" fmla="*/ 34925 h 1022359"/>
                <a:gd name="connsiteX9" fmla="*/ 311255 w 563209"/>
                <a:gd name="connsiteY9" fmla="*/ 3175 h 1022359"/>
                <a:gd name="connsiteX10" fmla="*/ 562873 w 563209"/>
                <a:gd name="connsiteY10" fmla="*/ 428625 h 1022359"/>
                <a:gd name="connsiteX11" fmla="*/ 464448 w 563209"/>
                <a:gd name="connsiteY11" fmla="*/ 428625 h 1022359"/>
                <a:gd name="connsiteX12" fmla="*/ 423173 w 563209"/>
                <a:gd name="connsiteY12" fmla="*/ 247650 h 1022359"/>
                <a:gd name="connsiteX13" fmla="*/ 424760 w 563209"/>
                <a:gd name="connsiteY13" fmla="*/ 369888 h 1022359"/>
                <a:gd name="connsiteX14" fmla="*/ 477148 w 563209"/>
                <a:gd name="connsiteY14" fmla="*/ 673100 h 1022359"/>
                <a:gd name="connsiteX15" fmla="*/ 413648 w 563209"/>
                <a:gd name="connsiteY15" fmla="*/ 673100 h 1022359"/>
                <a:gd name="connsiteX16" fmla="*/ 413648 w 563209"/>
                <a:gd name="connsiteY16" fmla="*/ 996950 h 1022359"/>
                <a:gd name="connsiteX17" fmla="*/ 286648 w 563209"/>
                <a:gd name="connsiteY17" fmla="*/ 996950 h 1022359"/>
                <a:gd name="connsiteX18" fmla="*/ 280298 w 563209"/>
                <a:gd name="connsiteY18" fmla="*/ 669925 h 1022359"/>
                <a:gd name="connsiteX19" fmla="*/ 267598 w 563209"/>
                <a:gd name="connsiteY19" fmla="*/ 984250 h 1022359"/>
                <a:gd name="connsiteX20" fmla="*/ 137423 w 563209"/>
                <a:gd name="connsiteY20" fmla="*/ 981075 h 1022359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80273 w 563209"/>
                <a:gd name="connsiteY2" fmla="*/ 663575 h 1042663"/>
                <a:gd name="connsiteX3" fmla="*/ 134248 w 563209"/>
                <a:gd name="connsiteY3" fmla="*/ 371475 h 1042663"/>
                <a:gd name="connsiteX4" fmla="*/ 134248 w 563209"/>
                <a:gd name="connsiteY4" fmla="*/ 279400 h 1042663"/>
                <a:gd name="connsiteX5" fmla="*/ 96148 w 563209"/>
                <a:gd name="connsiteY5" fmla="*/ 431800 h 1042663"/>
                <a:gd name="connsiteX6" fmla="*/ 898 w 563209"/>
                <a:gd name="connsiteY6" fmla="*/ 431800 h 1042663"/>
                <a:gd name="connsiteX7" fmla="*/ 239023 w 563209"/>
                <a:gd name="connsiteY7" fmla="*/ 0 h 1042663"/>
                <a:gd name="connsiteX8" fmla="*/ 270773 w 563209"/>
                <a:gd name="connsiteY8" fmla="*/ 34925 h 1042663"/>
                <a:gd name="connsiteX9" fmla="*/ 311255 w 563209"/>
                <a:gd name="connsiteY9" fmla="*/ 3175 h 1042663"/>
                <a:gd name="connsiteX10" fmla="*/ 562873 w 563209"/>
                <a:gd name="connsiteY10" fmla="*/ 428625 h 1042663"/>
                <a:gd name="connsiteX11" fmla="*/ 464448 w 563209"/>
                <a:gd name="connsiteY11" fmla="*/ 428625 h 1042663"/>
                <a:gd name="connsiteX12" fmla="*/ 423173 w 563209"/>
                <a:gd name="connsiteY12" fmla="*/ 247650 h 1042663"/>
                <a:gd name="connsiteX13" fmla="*/ 424760 w 563209"/>
                <a:gd name="connsiteY13" fmla="*/ 369888 h 1042663"/>
                <a:gd name="connsiteX14" fmla="*/ 477148 w 563209"/>
                <a:gd name="connsiteY14" fmla="*/ 673100 h 1042663"/>
                <a:gd name="connsiteX15" fmla="*/ 413648 w 563209"/>
                <a:gd name="connsiteY15" fmla="*/ 673100 h 1042663"/>
                <a:gd name="connsiteX16" fmla="*/ 413648 w 563209"/>
                <a:gd name="connsiteY16" fmla="*/ 996950 h 1042663"/>
                <a:gd name="connsiteX17" fmla="*/ 286648 w 563209"/>
                <a:gd name="connsiteY17" fmla="*/ 996950 h 1042663"/>
                <a:gd name="connsiteX18" fmla="*/ 280298 w 563209"/>
                <a:gd name="connsiteY18" fmla="*/ 669925 h 1042663"/>
                <a:gd name="connsiteX19" fmla="*/ 267598 w 563209"/>
                <a:gd name="connsiteY19" fmla="*/ 984250 h 1042663"/>
                <a:gd name="connsiteX20" fmla="*/ 137423 w 563209"/>
                <a:gd name="connsiteY20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80273 w 563209"/>
                <a:gd name="connsiteY2" fmla="*/ 663575 h 1042663"/>
                <a:gd name="connsiteX3" fmla="*/ 134248 w 563209"/>
                <a:gd name="connsiteY3" fmla="*/ 371475 h 1042663"/>
                <a:gd name="connsiteX4" fmla="*/ 134248 w 563209"/>
                <a:gd name="connsiteY4" fmla="*/ 279400 h 1042663"/>
                <a:gd name="connsiteX5" fmla="*/ 96148 w 563209"/>
                <a:gd name="connsiteY5" fmla="*/ 431800 h 1042663"/>
                <a:gd name="connsiteX6" fmla="*/ 898 w 563209"/>
                <a:gd name="connsiteY6" fmla="*/ 431800 h 1042663"/>
                <a:gd name="connsiteX7" fmla="*/ 239023 w 563209"/>
                <a:gd name="connsiteY7" fmla="*/ 0 h 1042663"/>
                <a:gd name="connsiteX8" fmla="*/ 270773 w 563209"/>
                <a:gd name="connsiteY8" fmla="*/ 34925 h 1042663"/>
                <a:gd name="connsiteX9" fmla="*/ 311255 w 563209"/>
                <a:gd name="connsiteY9" fmla="*/ 3175 h 1042663"/>
                <a:gd name="connsiteX10" fmla="*/ 562873 w 563209"/>
                <a:gd name="connsiteY10" fmla="*/ 428625 h 1042663"/>
                <a:gd name="connsiteX11" fmla="*/ 464448 w 563209"/>
                <a:gd name="connsiteY11" fmla="*/ 428625 h 1042663"/>
                <a:gd name="connsiteX12" fmla="*/ 423173 w 563209"/>
                <a:gd name="connsiteY12" fmla="*/ 247650 h 1042663"/>
                <a:gd name="connsiteX13" fmla="*/ 424760 w 563209"/>
                <a:gd name="connsiteY13" fmla="*/ 369888 h 1042663"/>
                <a:gd name="connsiteX14" fmla="*/ 477148 w 563209"/>
                <a:gd name="connsiteY14" fmla="*/ 673100 h 1042663"/>
                <a:gd name="connsiteX15" fmla="*/ 413648 w 563209"/>
                <a:gd name="connsiteY15" fmla="*/ 673100 h 1042663"/>
                <a:gd name="connsiteX16" fmla="*/ 413648 w 563209"/>
                <a:gd name="connsiteY16" fmla="*/ 996950 h 1042663"/>
                <a:gd name="connsiteX17" fmla="*/ 286648 w 563209"/>
                <a:gd name="connsiteY17" fmla="*/ 996950 h 1042663"/>
                <a:gd name="connsiteX18" fmla="*/ 280298 w 563209"/>
                <a:gd name="connsiteY18" fmla="*/ 669925 h 1042663"/>
                <a:gd name="connsiteX19" fmla="*/ 267598 w 563209"/>
                <a:gd name="connsiteY19" fmla="*/ 984250 h 1042663"/>
                <a:gd name="connsiteX20" fmla="*/ 137423 w 563209"/>
                <a:gd name="connsiteY20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80273 w 563209"/>
                <a:gd name="connsiteY2" fmla="*/ 663575 h 1042663"/>
                <a:gd name="connsiteX3" fmla="*/ 134248 w 563209"/>
                <a:gd name="connsiteY3" fmla="*/ 371475 h 1042663"/>
                <a:gd name="connsiteX4" fmla="*/ 134248 w 563209"/>
                <a:gd name="connsiteY4" fmla="*/ 279400 h 1042663"/>
                <a:gd name="connsiteX5" fmla="*/ 96148 w 563209"/>
                <a:gd name="connsiteY5" fmla="*/ 431800 h 1042663"/>
                <a:gd name="connsiteX6" fmla="*/ 898 w 563209"/>
                <a:gd name="connsiteY6" fmla="*/ 431800 h 1042663"/>
                <a:gd name="connsiteX7" fmla="*/ 239023 w 563209"/>
                <a:gd name="connsiteY7" fmla="*/ 0 h 1042663"/>
                <a:gd name="connsiteX8" fmla="*/ 270773 w 563209"/>
                <a:gd name="connsiteY8" fmla="*/ 34925 h 1042663"/>
                <a:gd name="connsiteX9" fmla="*/ 311255 w 563209"/>
                <a:gd name="connsiteY9" fmla="*/ 3175 h 1042663"/>
                <a:gd name="connsiteX10" fmla="*/ 562873 w 563209"/>
                <a:gd name="connsiteY10" fmla="*/ 428625 h 1042663"/>
                <a:gd name="connsiteX11" fmla="*/ 464448 w 563209"/>
                <a:gd name="connsiteY11" fmla="*/ 428625 h 1042663"/>
                <a:gd name="connsiteX12" fmla="*/ 423173 w 563209"/>
                <a:gd name="connsiteY12" fmla="*/ 247650 h 1042663"/>
                <a:gd name="connsiteX13" fmla="*/ 424760 w 563209"/>
                <a:gd name="connsiteY13" fmla="*/ 369888 h 1042663"/>
                <a:gd name="connsiteX14" fmla="*/ 477148 w 563209"/>
                <a:gd name="connsiteY14" fmla="*/ 673100 h 1042663"/>
                <a:gd name="connsiteX15" fmla="*/ 413648 w 563209"/>
                <a:gd name="connsiteY15" fmla="*/ 673100 h 1042663"/>
                <a:gd name="connsiteX16" fmla="*/ 413648 w 563209"/>
                <a:gd name="connsiteY16" fmla="*/ 996950 h 1042663"/>
                <a:gd name="connsiteX17" fmla="*/ 286648 w 563209"/>
                <a:gd name="connsiteY17" fmla="*/ 996950 h 1042663"/>
                <a:gd name="connsiteX18" fmla="*/ 280298 w 563209"/>
                <a:gd name="connsiteY18" fmla="*/ 669925 h 1042663"/>
                <a:gd name="connsiteX19" fmla="*/ 267598 w 563209"/>
                <a:gd name="connsiteY19" fmla="*/ 984250 h 1042663"/>
                <a:gd name="connsiteX20" fmla="*/ 137423 w 563209"/>
                <a:gd name="connsiteY20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80273 w 563209"/>
                <a:gd name="connsiteY2" fmla="*/ 663575 h 1042663"/>
                <a:gd name="connsiteX3" fmla="*/ 134248 w 563209"/>
                <a:gd name="connsiteY3" fmla="*/ 371475 h 1042663"/>
                <a:gd name="connsiteX4" fmla="*/ 134248 w 563209"/>
                <a:gd name="connsiteY4" fmla="*/ 279400 h 1042663"/>
                <a:gd name="connsiteX5" fmla="*/ 96148 w 563209"/>
                <a:gd name="connsiteY5" fmla="*/ 431800 h 1042663"/>
                <a:gd name="connsiteX6" fmla="*/ 898 w 563209"/>
                <a:gd name="connsiteY6" fmla="*/ 431800 h 1042663"/>
                <a:gd name="connsiteX7" fmla="*/ 239023 w 563209"/>
                <a:gd name="connsiteY7" fmla="*/ 0 h 1042663"/>
                <a:gd name="connsiteX8" fmla="*/ 270773 w 563209"/>
                <a:gd name="connsiteY8" fmla="*/ 34925 h 1042663"/>
                <a:gd name="connsiteX9" fmla="*/ 311255 w 563209"/>
                <a:gd name="connsiteY9" fmla="*/ 3175 h 1042663"/>
                <a:gd name="connsiteX10" fmla="*/ 562873 w 563209"/>
                <a:gd name="connsiteY10" fmla="*/ 428625 h 1042663"/>
                <a:gd name="connsiteX11" fmla="*/ 464448 w 563209"/>
                <a:gd name="connsiteY11" fmla="*/ 428625 h 1042663"/>
                <a:gd name="connsiteX12" fmla="*/ 423173 w 563209"/>
                <a:gd name="connsiteY12" fmla="*/ 247650 h 1042663"/>
                <a:gd name="connsiteX13" fmla="*/ 424760 w 563209"/>
                <a:gd name="connsiteY13" fmla="*/ 369888 h 1042663"/>
                <a:gd name="connsiteX14" fmla="*/ 477148 w 563209"/>
                <a:gd name="connsiteY14" fmla="*/ 673100 h 1042663"/>
                <a:gd name="connsiteX15" fmla="*/ 413648 w 563209"/>
                <a:gd name="connsiteY15" fmla="*/ 673100 h 1042663"/>
                <a:gd name="connsiteX16" fmla="*/ 413648 w 563209"/>
                <a:gd name="connsiteY16" fmla="*/ 996950 h 1042663"/>
                <a:gd name="connsiteX17" fmla="*/ 286648 w 563209"/>
                <a:gd name="connsiteY17" fmla="*/ 996950 h 1042663"/>
                <a:gd name="connsiteX18" fmla="*/ 280298 w 563209"/>
                <a:gd name="connsiteY18" fmla="*/ 669925 h 1042663"/>
                <a:gd name="connsiteX19" fmla="*/ 267598 w 563209"/>
                <a:gd name="connsiteY19" fmla="*/ 984250 h 1042663"/>
                <a:gd name="connsiteX20" fmla="*/ 137423 w 563209"/>
                <a:gd name="connsiteY20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80273 w 563209"/>
                <a:gd name="connsiteY2" fmla="*/ 663575 h 1042663"/>
                <a:gd name="connsiteX3" fmla="*/ 134248 w 563209"/>
                <a:gd name="connsiteY3" fmla="*/ 371475 h 1042663"/>
                <a:gd name="connsiteX4" fmla="*/ 134248 w 563209"/>
                <a:gd name="connsiteY4" fmla="*/ 279400 h 1042663"/>
                <a:gd name="connsiteX5" fmla="*/ 96148 w 563209"/>
                <a:gd name="connsiteY5" fmla="*/ 431800 h 1042663"/>
                <a:gd name="connsiteX6" fmla="*/ 898 w 563209"/>
                <a:gd name="connsiteY6" fmla="*/ 431800 h 1042663"/>
                <a:gd name="connsiteX7" fmla="*/ 239023 w 563209"/>
                <a:gd name="connsiteY7" fmla="*/ 0 h 1042663"/>
                <a:gd name="connsiteX8" fmla="*/ 270773 w 563209"/>
                <a:gd name="connsiteY8" fmla="*/ 34925 h 1042663"/>
                <a:gd name="connsiteX9" fmla="*/ 311255 w 563209"/>
                <a:gd name="connsiteY9" fmla="*/ 3175 h 1042663"/>
                <a:gd name="connsiteX10" fmla="*/ 562873 w 563209"/>
                <a:gd name="connsiteY10" fmla="*/ 428625 h 1042663"/>
                <a:gd name="connsiteX11" fmla="*/ 464448 w 563209"/>
                <a:gd name="connsiteY11" fmla="*/ 428625 h 1042663"/>
                <a:gd name="connsiteX12" fmla="*/ 423173 w 563209"/>
                <a:gd name="connsiteY12" fmla="*/ 247650 h 1042663"/>
                <a:gd name="connsiteX13" fmla="*/ 424760 w 563209"/>
                <a:gd name="connsiteY13" fmla="*/ 369888 h 1042663"/>
                <a:gd name="connsiteX14" fmla="*/ 477148 w 563209"/>
                <a:gd name="connsiteY14" fmla="*/ 673100 h 1042663"/>
                <a:gd name="connsiteX15" fmla="*/ 413648 w 563209"/>
                <a:gd name="connsiteY15" fmla="*/ 673100 h 1042663"/>
                <a:gd name="connsiteX16" fmla="*/ 413648 w 563209"/>
                <a:gd name="connsiteY16" fmla="*/ 996950 h 1042663"/>
                <a:gd name="connsiteX17" fmla="*/ 286648 w 563209"/>
                <a:gd name="connsiteY17" fmla="*/ 996950 h 1042663"/>
                <a:gd name="connsiteX18" fmla="*/ 280298 w 563209"/>
                <a:gd name="connsiteY18" fmla="*/ 669925 h 1042663"/>
                <a:gd name="connsiteX19" fmla="*/ 267598 w 563209"/>
                <a:gd name="connsiteY19" fmla="*/ 984250 h 1042663"/>
                <a:gd name="connsiteX20" fmla="*/ 137423 w 563209"/>
                <a:gd name="connsiteY20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134248 w 563209"/>
                <a:gd name="connsiteY2" fmla="*/ 371475 h 1042663"/>
                <a:gd name="connsiteX3" fmla="*/ 134248 w 563209"/>
                <a:gd name="connsiteY3" fmla="*/ 279400 h 1042663"/>
                <a:gd name="connsiteX4" fmla="*/ 96148 w 563209"/>
                <a:gd name="connsiteY4" fmla="*/ 431800 h 1042663"/>
                <a:gd name="connsiteX5" fmla="*/ 898 w 563209"/>
                <a:gd name="connsiteY5" fmla="*/ 431800 h 1042663"/>
                <a:gd name="connsiteX6" fmla="*/ 239023 w 563209"/>
                <a:gd name="connsiteY6" fmla="*/ 0 h 1042663"/>
                <a:gd name="connsiteX7" fmla="*/ 270773 w 563209"/>
                <a:gd name="connsiteY7" fmla="*/ 34925 h 1042663"/>
                <a:gd name="connsiteX8" fmla="*/ 311255 w 563209"/>
                <a:gd name="connsiteY8" fmla="*/ 3175 h 1042663"/>
                <a:gd name="connsiteX9" fmla="*/ 562873 w 563209"/>
                <a:gd name="connsiteY9" fmla="*/ 428625 h 1042663"/>
                <a:gd name="connsiteX10" fmla="*/ 464448 w 563209"/>
                <a:gd name="connsiteY10" fmla="*/ 428625 h 1042663"/>
                <a:gd name="connsiteX11" fmla="*/ 423173 w 563209"/>
                <a:gd name="connsiteY11" fmla="*/ 247650 h 1042663"/>
                <a:gd name="connsiteX12" fmla="*/ 424760 w 563209"/>
                <a:gd name="connsiteY12" fmla="*/ 369888 h 1042663"/>
                <a:gd name="connsiteX13" fmla="*/ 477148 w 563209"/>
                <a:gd name="connsiteY13" fmla="*/ 673100 h 1042663"/>
                <a:gd name="connsiteX14" fmla="*/ 413648 w 563209"/>
                <a:gd name="connsiteY14" fmla="*/ 673100 h 1042663"/>
                <a:gd name="connsiteX15" fmla="*/ 413648 w 563209"/>
                <a:gd name="connsiteY15" fmla="*/ 996950 h 1042663"/>
                <a:gd name="connsiteX16" fmla="*/ 286648 w 563209"/>
                <a:gd name="connsiteY16" fmla="*/ 996950 h 1042663"/>
                <a:gd name="connsiteX17" fmla="*/ 280298 w 563209"/>
                <a:gd name="connsiteY17" fmla="*/ 669925 h 1042663"/>
                <a:gd name="connsiteX18" fmla="*/ 267598 w 563209"/>
                <a:gd name="connsiteY18" fmla="*/ 984250 h 1042663"/>
                <a:gd name="connsiteX19" fmla="*/ 137423 w 563209"/>
                <a:gd name="connsiteY19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141392 w 563209"/>
                <a:gd name="connsiteY2" fmla="*/ 473869 h 1042663"/>
                <a:gd name="connsiteX3" fmla="*/ 134248 w 563209"/>
                <a:gd name="connsiteY3" fmla="*/ 279400 h 1042663"/>
                <a:gd name="connsiteX4" fmla="*/ 96148 w 563209"/>
                <a:gd name="connsiteY4" fmla="*/ 431800 h 1042663"/>
                <a:gd name="connsiteX5" fmla="*/ 898 w 563209"/>
                <a:gd name="connsiteY5" fmla="*/ 431800 h 1042663"/>
                <a:gd name="connsiteX6" fmla="*/ 239023 w 563209"/>
                <a:gd name="connsiteY6" fmla="*/ 0 h 1042663"/>
                <a:gd name="connsiteX7" fmla="*/ 270773 w 563209"/>
                <a:gd name="connsiteY7" fmla="*/ 34925 h 1042663"/>
                <a:gd name="connsiteX8" fmla="*/ 311255 w 563209"/>
                <a:gd name="connsiteY8" fmla="*/ 3175 h 1042663"/>
                <a:gd name="connsiteX9" fmla="*/ 562873 w 563209"/>
                <a:gd name="connsiteY9" fmla="*/ 428625 h 1042663"/>
                <a:gd name="connsiteX10" fmla="*/ 464448 w 563209"/>
                <a:gd name="connsiteY10" fmla="*/ 428625 h 1042663"/>
                <a:gd name="connsiteX11" fmla="*/ 423173 w 563209"/>
                <a:gd name="connsiteY11" fmla="*/ 247650 h 1042663"/>
                <a:gd name="connsiteX12" fmla="*/ 424760 w 563209"/>
                <a:gd name="connsiteY12" fmla="*/ 369888 h 1042663"/>
                <a:gd name="connsiteX13" fmla="*/ 477148 w 563209"/>
                <a:gd name="connsiteY13" fmla="*/ 673100 h 1042663"/>
                <a:gd name="connsiteX14" fmla="*/ 413648 w 563209"/>
                <a:gd name="connsiteY14" fmla="*/ 673100 h 1042663"/>
                <a:gd name="connsiteX15" fmla="*/ 413648 w 563209"/>
                <a:gd name="connsiteY15" fmla="*/ 996950 h 1042663"/>
                <a:gd name="connsiteX16" fmla="*/ 286648 w 563209"/>
                <a:gd name="connsiteY16" fmla="*/ 996950 h 1042663"/>
                <a:gd name="connsiteX17" fmla="*/ 280298 w 563209"/>
                <a:gd name="connsiteY17" fmla="*/ 669925 h 1042663"/>
                <a:gd name="connsiteX18" fmla="*/ 267598 w 563209"/>
                <a:gd name="connsiteY18" fmla="*/ 984250 h 1042663"/>
                <a:gd name="connsiteX19" fmla="*/ 137423 w 563209"/>
                <a:gd name="connsiteY19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141392 w 563209"/>
                <a:gd name="connsiteY2" fmla="*/ 473869 h 1042663"/>
                <a:gd name="connsiteX3" fmla="*/ 134248 w 563209"/>
                <a:gd name="connsiteY3" fmla="*/ 279400 h 1042663"/>
                <a:gd name="connsiteX4" fmla="*/ 96148 w 563209"/>
                <a:gd name="connsiteY4" fmla="*/ 431800 h 1042663"/>
                <a:gd name="connsiteX5" fmla="*/ 898 w 563209"/>
                <a:gd name="connsiteY5" fmla="*/ 431800 h 1042663"/>
                <a:gd name="connsiteX6" fmla="*/ 239023 w 563209"/>
                <a:gd name="connsiteY6" fmla="*/ 0 h 1042663"/>
                <a:gd name="connsiteX7" fmla="*/ 270773 w 563209"/>
                <a:gd name="connsiteY7" fmla="*/ 34925 h 1042663"/>
                <a:gd name="connsiteX8" fmla="*/ 311255 w 563209"/>
                <a:gd name="connsiteY8" fmla="*/ 3175 h 1042663"/>
                <a:gd name="connsiteX9" fmla="*/ 562873 w 563209"/>
                <a:gd name="connsiteY9" fmla="*/ 428625 h 1042663"/>
                <a:gd name="connsiteX10" fmla="*/ 464448 w 563209"/>
                <a:gd name="connsiteY10" fmla="*/ 428625 h 1042663"/>
                <a:gd name="connsiteX11" fmla="*/ 423173 w 563209"/>
                <a:gd name="connsiteY11" fmla="*/ 247650 h 1042663"/>
                <a:gd name="connsiteX12" fmla="*/ 424760 w 563209"/>
                <a:gd name="connsiteY12" fmla="*/ 369888 h 1042663"/>
                <a:gd name="connsiteX13" fmla="*/ 477148 w 563209"/>
                <a:gd name="connsiteY13" fmla="*/ 673100 h 1042663"/>
                <a:gd name="connsiteX14" fmla="*/ 413648 w 563209"/>
                <a:gd name="connsiteY14" fmla="*/ 673100 h 1042663"/>
                <a:gd name="connsiteX15" fmla="*/ 413648 w 563209"/>
                <a:gd name="connsiteY15" fmla="*/ 996950 h 1042663"/>
                <a:gd name="connsiteX16" fmla="*/ 286648 w 563209"/>
                <a:gd name="connsiteY16" fmla="*/ 996950 h 1042663"/>
                <a:gd name="connsiteX17" fmla="*/ 280298 w 563209"/>
                <a:gd name="connsiteY17" fmla="*/ 669925 h 1042663"/>
                <a:gd name="connsiteX18" fmla="*/ 267598 w 563209"/>
                <a:gd name="connsiteY18" fmla="*/ 984250 h 1042663"/>
                <a:gd name="connsiteX19" fmla="*/ 137423 w 563209"/>
                <a:gd name="connsiteY19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141392 w 563209"/>
                <a:gd name="connsiteY2" fmla="*/ 473869 h 1042663"/>
                <a:gd name="connsiteX3" fmla="*/ 134248 w 563209"/>
                <a:gd name="connsiteY3" fmla="*/ 279400 h 1042663"/>
                <a:gd name="connsiteX4" fmla="*/ 96148 w 563209"/>
                <a:gd name="connsiteY4" fmla="*/ 431800 h 1042663"/>
                <a:gd name="connsiteX5" fmla="*/ 898 w 563209"/>
                <a:gd name="connsiteY5" fmla="*/ 431800 h 1042663"/>
                <a:gd name="connsiteX6" fmla="*/ 239023 w 563209"/>
                <a:gd name="connsiteY6" fmla="*/ 0 h 1042663"/>
                <a:gd name="connsiteX7" fmla="*/ 270773 w 563209"/>
                <a:gd name="connsiteY7" fmla="*/ 34925 h 1042663"/>
                <a:gd name="connsiteX8" fmla="*/ 311255 w 563209"/>
                <a:gd name="connsiteY8" fmla="*/ 3175 h 1042663"/>
                <a:gd name="connsiteX9" fmla="*/ 562873 w 563209"/>
                <a:gd name="connsiteY9" fmla="*/ 428625 h 1042663"/>
                <a:gd name="connsiteX10" fmla="*/ 464448 w 563209"/>
                <a:gd name="connsiteY10" fmla="*/ 428625 h 1042663"/>
                <a:gd name="connsiteX11" fmla="*/ 423173 w 563209"/>
                <a:gd name="connsiteY11" fmla="*/ 247650 h 1042663"/>
                <a:gd name="connsiteX12" fmla="*/ 419998 w 563209"/>
                <a:gd name="connsiteY12" fmla="*/ 465138 h 1042663"/>
                <a:gd name="connsiteX13" fmla="*/ 477148 w 563209"/>
                <a:gd name="connsiteY13" fmla="*/ 673100 h 1042663"/>
                <a:gd name="connsiteX14" fmla="*/ 413648 w 563209"/>
                <a:gd name="connsiteY14" fmla="*/ 673100 h 1042663"/>
                <a:gd name="connsiteX15" fmla="*/ 413648 w 563209"/>
                <a:gd name="connsiteY15" fmla="*/ 996950 h 1042663"/>
                <a:gd name="connsiteX16" fmla="*/ 286648 w 563209"/>
                <a:gd name="connsiteY16" fmla="*/ 996950 h 1042663"/>
                <a:gd name="connsiteX17" fmla="*/ 280298 w 563209"/>
                <a:gd name="connsiteY17" fmla="*/ 669925 h 1042663"/>
                <a:gd name="connsiteX18" fmla="*/ 267598 w 563209"/>
                <a:gd name="connsiteY18" fmla="*/ 984250 h 1042663"/>
                <a:gd name="connsiteX19" fmla="*/ 137423 w 563209"/>
                <a:gd name="connsiteY19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141392 w 563209"/>
                <a:gd name="connsiteY2" fmla="*/ 473869 h 1042663"/>
                <a:gd name="connsiteX3" fmla="*/ 134248 w 563209"/>
                <a:gd name="connsiteY3" fmla="*/ 279400 h 1042663"/>
                <a:gd name="connsiteX4" fmla="*/ 96148 w 563209"/>
                <a:gd name="connsiteY4" fmla="*/ 431800 h 1042663"/>
                <a:gd name="connsiteX5" fmla="*/ 898 w 563209"/>
                <a:gd name="connsiteY5" fmla="*/ 431800 h 1042663"/>
                <a:gd name="connsiteX6" fmla="*/ 239023 w 563209"/>
                <a:gd name="connsiteY6" fmla="*/ 0 h 1042663"/>
                <a:gd name="connsiteX7" fmla="*/ 270773 w 563209"/>
                <a:gd name="connsiteY7" fmla="*/ 34925 h 1042663"/>
                <a:gd name="connsiteX8" fmla="*/ 311255 w 563209"/>
                <a:gd name="connsiteY8" fmla="*/ 3175 h 1042663"/>
                <a:gd name="connsiteX9" fmla="*/ 562873 w 563209"/>
                <a:gd name="connsiteY9" fmla="*/ 428625 h 1042663"/>
                <a:gd name="connsiteX10" fmla="*/ 464448 w 563209"/>
                <a:gd name="connsiteY10" fmla="*/ 428625 h 1042663"/>
                <a:gd name="connsiteX11" fmla="*/ 423173 w 563209"/>
                <a:gd name="connsiteY11" fmla="*/ 247650 h 1042663"/>
                <a:gd name="connsiteX12" fmla="*/ 419998 w 563209"/>
                <a:gd name="connsiteY12" fmla="*/ 465138 h 1042663"/>
                <a:gd name="connsiteX13" fmla="*/ 477148 w 563209"/>
                <a:gd name="connsiteY13" fmla="*/ 673100 h 1042663"/>
                <a:gd name="connsiteX14" fmla="*/ 413648 w 563209"/>
                <a:gd name="connsiteY14" fmla="*/ 673100 h 1042663"/>
                <a:gd name="connsiteX15" fmla="*/ 413648 w 563209"/>
                <a:gd name="connsiteY15" fmla="*/ 996950 h 1042663"/>
                <a:gd name="connsiteX16" fmla="*/ 286648 w 563209"/>
                <a:gd name="connsiteY16" fmla="*/ 996950 h 1042663"/>
                <a:gd name="connsiteX17" fmla="*/ 280298 w 563209"/>
                <a:gd name="connsiteY17" fmla="*/ 669925 h 1042663"/>
                <a:gd name="connsiteX18" fmla="*/ 267598 w 563209"/>
                <a:gd name="connsiteY18" fmla="*/ 984250 h 1042663"/>
                <a:gd name="connsiteX19" fmla="*/ 137423 w 563209"/>
                <a:gd name="connsiteY19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141392 w 563209"/>
                <a:gd name="connsiteY2" fmla="*/ 473869 h 1042663"/>
                <a:gd name="connsiteX3" fmla="*/ 134248 w 563209"/>
                <a:gd name="connsiteY3" fmla="*/ 279400 h 1042663"/>
                <a:gd name="connsiteX4" fmla="*/ 96148 w 563209"/>
                <a:gd name="connsiteY4" fmla="*/ 431800 h 1042663"/>
                <a:gd name="connsiteX5" fmla="*/ 898 w 563209"/>
                <a:gd name="connsiteY5" fmla="*/ 431800 h 1042663"/>
                <a:gd name="connsiteX6" fmla="*/ 239023 w 563209"/>
                <a:gd name="connsiteY6" fmla="*/ 0 h 1042663"/>
                <a:gd name="connsiteX7" fmla="*/ 270773 w 563209"/>
                <a:gd name="connsiteY7" fmla="*/ 34925 h 1042663"/>
                <a:gd name="connsiteX8" fmla="*/ 311255 w 563209"/>
                <a:gd name="connsiteY8" fmla="*/ 3175 h 1042663"/>
                <a:gd name="connsiteX9" fmla="*/ 562873 w 563209"/>
                <a:gd name="connsiteY9" fmla="*/ 428625 h 1042663"/>
                <a:gd name="connsiteX10" fmla="*/ 464448 w 563209"/>
                <a:gd name="connsiteY10" fmla="*/ 428625 h 1042663"/>
                <a:gd name="connsiteX11" fmla="*/ 423173 w 563209"/>
                <a:gd name="connsiteY11" fmla="*/ 247650 h 1042663"/>
                <a:gd name="connsiteX12" fmla="*/ 419998 w 563209"/>
                <a:gd name="connsiteY12" fmla="*/ 465138 h 1042663"/>
                <a:gd name="connsiteX13" fmla="*/ 413648 w 563209"/>
                <a:gd name="connsiteY13" fmla="*/ 673100 h 1042663"/>
                <a:gd name="connsiteX14" fmla="*/ 413648 w 563209"/>
                <a:gd name="connsiteY14" fmla="*/ 996950 h 1042663"/>
                <a:gd name="connsiteX15" fmla="*/ 286648 w 563209"/>
                <a:gd name="connsiteY15" fmla="*/ 996950 h 1042663"/>
                <a:gd name="connsiteX16" fmla="*/ 280298 w 563209"/>
                <a:gd name="connsiteY16" fmla="*/ 669925 h 1042663"/>
                <a:gd name="connsiteX17" fmla="*/ 267598 w 563209"/>
                <a:gd name="connsiteY17" fmla="*/ 984250 h 1042663"/>
                <a:gd name="connsiteX18" fmla="*/ 137423 w 563209"/>
                <a:gd name="connsiteY18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141392 w 563209"/>
                <a:gd name="connsiteY2" fmla="*/ 473869 h 1042663"/>
                <a:gd name="connsiteX3" fmla="*/ 134248 w 563209"/>
                <a:gd name="connsiteY3" fmla="*/ 279400 h 1042663"/>
                <a:gd name="connsiteX4" fmla="*/ 96148 w 563209"/>
                <a:gd name="connsiteY4" fmla="*/ 431800 h 1042663"/>
                <a:gd name="connsiteX5" fmla="*/ 898 w 563209"/>
                <a:gd name="connsiteY5" fmla="*/ 431800 h 1042663"/>
                <a:gd name="connsiteX6" fmla="*/ 239023 w 563209"/>
                <a:gd name="connsiteY6" fmla="*/ 0 h 1042663"/>
                <a:gd name="connsiteX7" fmla="*/ 270773 w 563209"/>
                <a:gd name="connsiteY7" fmla="*/ 34925 h 1042663"/>
                <a:gd name="connsiteX8" fmla="*/ 311255 w 563209"/>
                <a:gd name="connsiteY8" fmla="*/ 3175 h 1042663"/>
                <a:gd name="connsiteX9" fmla="*/ 562873 w 563209"/>
                <a:gd name="connsiteY9" fmla="*/ 428625 h 1042663"/>
                <a:gd name="connsiteX10" fmla="*/ 464448 w 563209"/>
                <a:gd name="connsiteY10" fmla="*/ 428625 h 1042663"/>
                <a:gd name="connsiteX11" fmla="*/ 423173 w 563209"/>
                <a:gd name="connsiteY11" fmla="*/ 247650 h 1042663"/>
                <a:gd name="connsiteX12" fmla="*/ 419998 w 563209"/>
                <a:gd name="connsiteY12" fmla="*/ 465138 h 1042663"/>
                <a:gd name="connsiteX13" fmla="*/ 413648 w 563209"/>
                <a:gd name="connsiteY13" fmla="*/ 673100 h 1042663"/>
                <a:gd name="connsiteX14" fmla="*/ 413648 w 563209"/>
                <a:gd name="connsiteY14" fmla="*/ 996950 h 1042663"/>
                <a:gd name="connsiteX15" fmla="*/ 286648 w 563209"/>
                <a:gd name="connsiteY15" fmla="*/ 996950 h 1042663"/>
                <a:gd name="connsiteX16" fmla="*/ 280298 w 563209"/>
                <a:gd name="connsiteY16" fmla="*/ 669925 h 1042663"/>
                <a:gd name="connsiteX17" fmla="*/ 267598 w 563209"/>
                <a:gd name="connsiteY17" fmla="*/ 984250 h 1042663"/>
                <a:gd name="connsiteX18" fmla="*/ 137423 w 563209"/>
                <a:gd name="connsiteY18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141392 w 563209"/>
                <a:gd name="connsiteY2" fmla="*/ 473869 h 1042663"/>
                <a:gd name="connsiteX3" fmla="*/ 134248 w 563209"/>
                <a:gd name="connsiteY3" fmla="*/ 279400 h 1042663"/>
                <a:gd name="connsiteX4" fmla="*/ 96148 w 563209"/>
                <a:gd name="connsiteY4" fmla="*/ 431800 h 1042663"/>
                <a:gd name="connsiteX5" fmla="*/ 898 w 563209"/>
                <a:gd name="connsiteY5" fmla="*/ 431800 h 1042663"/>
                <a:gd name="connsiteX6" fmla="*/ 239023 w 563209"/>
                <a:gd name="connsiteY6" fmla="*/ 0 h 1042663"/>
                <a:gd name="connsiteX7" fmla="*/ 270773 w 563209"/>
                <a:gd name="connsiteY7" fmla="*/ 34925 h 1042663"/>
                <a:gd name="connsiteX8" fmla="*/ 311255 w 563209"/>
                <a:gd name="connsiteY8" fmla="*/ 3175 h 1042663"/>
                <a:gd name="connsiteX9" fmla="*/ 562873 w 563209"/>
                <a:gd name="connsiteY9" fmla="*/ 428625 h 1042663"/>
                <a:gd name="connsiteX10" fmla="*/ 464448 w 563209"/>
                <a:gd name="connsiteY10" fmla="*/ 428625 h 1042663"/>
                <a:gd name="connsiteX11" fmla="*/ 423173 w 563209"/>
                <a:gd name="connsiteY11" fmla="*/ 247650 h 1042663"/>
                <a:gd name="connsiteX12" fmla="*/ 419998 w 563209"/>
                <a:gd name="connsiteY12" fmla="*/ 465138 h 1042663"/>
                <a:gd name="connsiteX13" fmla="*/ 406505 w 563209"/>
                <a:gd name="connsiteY13" fmla="*/ 682625 h 1042663"/>
                <a:gd name="connsiteX14" fmla="*/ 413648 w 563209"/>
                <a:gd name="connsiteY14" fmla="*/ 996950 h 1042663"/>
                <a:gd name="connsiteX15" fmla="*/ 286648 w 563209"/>
                <a:gd name="connsiteY15" fmla="*/ 996950 h 1042663"/>
                <a:gd name="connsiteX16" fmla="*/ 280298 w 563209"/>
                <a:gd name="connsiteY16" fmla="*/ 669925 h 1042663"/>
                <a:gd name="connsiteX17" fmla="*/ 267598 w 563209"/>
                <a:gd name="connsiteY17" fmla="*/ 984250 h 1042663"/>
                <a:gd name="connsiteX18" fmla="*/ 137423 w 563209"/>
                <a:gd name="connsiteY18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141392 w 563209"/>
                <a:gd name="connsiteY2" fmla="*/ 473869 h 1042663"/>
                <a:gd name="connsiteX3" fmla="*/ 134248 w 563209"/>
                <a:gd name="connsiteY3" fmla="*/ 279400 h 1042663"/>
                <a:gd name="connsiteX4" fmla="*/ 96148 w 563209"/>
                <a:gd name="connsiteY4" fmla="*/ 431800 h 1042663"/>
                <a:gd name="connsiteX5" fmla="*/ 898 w 563209"/>
                <a:gd name="connsiteY5" fmla="*/ 431800 h 1042663"/>
                <a:gd name="connsiteX6" fmla="*/ 239023 w 563209"/>
                <a:gd name="connsiteY6" fmla="*/ 0 h 1042663"/>
                <a:gd name="connsiteX7" fmla="*/ 270773 w 563209"/>
                <a:gd name="connsiteY7" fmla="*/ 34925 h 1042663"/>
                <a:gd name="connsiteX8" fmla="*/ 311255 w 563209"/>
                <a:gd name="connsiteY8" fmla="*/ 3175 h 1042663"/>
                <a:gd name="connsiteX9" fmla="*/ 562873 w 563209"/>
                <a:gd name="connsiteY9" fmla="*/ 428625 h 1042663"/>
                <a:gd name="connsiteX10" fmla="*/ 464448 w 563209"/>
                <a:gd name="connsiteY10" fmla="*/ 428625 h 1042663"/>
                <a:gd name="connsiteX11" fmla="*/ 423173 w 563209"/>
                <a:gd name="connsiteY11" fmla="*/ 247650 h 1042663"/>
                <a:gd name="connsiteX12" fmla="*/ 419998 w 563209"/>
                <a:gd name="connsiteY12" fmla="*/ 465138 h 1042663"/>
                <a:gd name="connsiteX13" fmla="*/ 406505 w 563209"/>
                <a:gd name="connsiteY13" fmla="*/ 682625 h 1042663"/>
                <a:gd name="connsiteX14" fmla="*/ 411267 w 563209"/>
                <a:gd name="connsiteY14" fmla="*/ 975519 h 1042663"/>
                <a:gd name="connsiteX15" fmla="*/ 286648 w 563209"/>
                <a:gd name="connsiteY15" fmla="*/ 996950 h 1042663"/>
                <a:gd name="connsiteX16" fmla="*/ 280298 w 563209"/>
                <a:gd name="connsiteY16" fmla="*/ 669925 h 1042663"/>
                <a:gd name="connsiteX17" fmla="*/ 267598 w 563209"/>
                <a:gd name="connsiteY17" fmla="*/ 984250 h 1042663"/>
                <a:gd name="connsiteX18" fmla="*/ 137423 w 563209"/>
                <a:gd name="connsiteY18" fmla="*/ 981075 h 1042663"/>
                <a:gd name="connsiteX0" fmla="*/ 137423 w 563209"/>
                <a:gd name="connsiteY0" fmla="*/ 981075 h 1042663"/>
                <a:gd name="connsiteX1" fmla="*/ 137423 w 563209"/>
                <a:gd name="connsiteY1" fmla="*/ 663575 h 1042663"/>
                <a:gd name="connsiteX2" fmla="*/ 141392 w 563209"/>
                <a:gd name="connsiteY2" fmla="*/ 473869 h 1042663"/>
                <a:gd name="connsiteX3" fmla="*/ 134248 w 563209"/>
                <a:gd name="connsiteY3" fmla="*/ 279400 h 1042663"/>
                <a:gd name="connsiteX4" fmla="*/ 96148 w 563209"/>
                <a:gd name="connsiteY4" fmla="*/ 431800 h 1042663"/>
                <a:gd name="connsiteX5" fmla="*/ 898 w 563209"/>
                <a:gd name="connsiteY5" fmla="*/ 431800 h 1042663"/>
                <a:gd name="connsiteX6" fmla="*/ 239023 w 563209"/>
                <a:gd name="connsiteY6" fmla="*/ 0 h 1042663"/>
                <a:gd name="connsiteX7" fmla="*/ 270773 w 563209"/>
                <a:gd name="connsiteY7" fmla="*/ 34925 h 1042663"/>
                <a:gd name="connsiteX8" fmla="*/ 311255 w 563209"/>
                <a:gd name="connsiteY8" fmla="*/ 3175 h 1042663"/>
                <a:gd name="connsiteX9" fmla="*/ 562873 w 563209"/>
                <a:gd name="connsiteY9" fmla="*/ 428625 h 1042663"/>
                <a:gd name="connsiteX10" fmla="*/ 464448 w 563209"/>
                <a:gd name="connsiteY10" fmla="*/ 428625 h 1042663"/>
                <a:gd name="connsiteX11" fmla="*/ 423173 w 563209"/>
                <a:gd name="connsiteY11" fmla="*/ 247650 h 1042663"/>
                <a:gd name="connsiteX12" fmla="*/ 419998 w 563209"/>
                <a:gd name="connsiteY12" fmla="*/ 465138 h 1042663"/>
                <a:gd name="connsiteX13" fmla="*/ 406505 w 563209"/>
                <a:gd name="connsiteY13" fmla="*/ 682625 h 1042663"/>
                <a:gd name="connsiteX14" fmla="*/ 411267 w 563209"/>
                <a:gd name="connsiteY14" fmla="*/ 975519 h 1042663"/>
                <a:gd name="connsiteX15" fmla="*/ 289030 w 563209"/>
                <a:gd name="connsiteY15" fmla="*/ 980281 h 1042663"/>
                <a:gd name="connsiteX16" fmla="*/ 280298 w 563209"/>
                <a:gd name="connsiteY16" fmla="*/ 669925 h 1042663"/>
                <a:gd name="connsiteX17" fmla="*/ 267598 w 563209"/>
                <a:gd name="connsiteY17" fmla="*/ 984250 h 1042663"/>
                <a:gd name="connsiteX18" fmla="*/ 137423 w 563209"/>
                <a:gd name="connsiteY18" fmla="*/ 981075 h 1042663"/>
                <a:gd name="connsiteX0" fmla="*/ 137423 w 563209"/>
                <a:gd name="connsiteY0" fmla="*/ 981075 h 1035612"/>
                <a:gd name="connsiteX1" fmla="*/ 137423 w 563209"/>
                <a:gd name="connsiteY1" fmla="*/ 663575 h 1035612"/>
                <a:gd name="connsiteX2" fmla="*/ 141392 w 563209"/>
                <a:gd name="connsiteY2" fmla="*/ 473869 h 1035612"/>
                <a:gd name="connsiteX3" fmla="*/ 134248 w 563209"/>
                <a:gd name="connsiteY3" fmla="*/ 279400 h 1035612"/>
                <a:gd name="connsiteX4" fmla="*/ 96148 w 563209"/>
                <a:gd name="connsiteY4" fmla="*/ 431800 h 1035612"/>
                <a:gd name="connsiteX5" fmla="*/ 898 w 563209"/>
                <a:gd name="connsiteY5" fmla="*/ 431800 h 1035612"/>
                <a:gd name="connsiteX6" fmla="*/ 239023 w 563209"/>
                <a:gd name="connsiteY6" fmla="*/ 0 h 1035612"/>
                <a:gd name="connsiteX7" fmla="*/ 270773 w 563209"/>
                <a:gd name="connsiteY7" fmla="*/ 34925 h 1035612"/>
                <a:gd name="connsiteX8" fmla="*/ 311255 w 563209"/>
                <a:gd name="connsiteY8" fmla="*/ 3175 h 1035612"/>
                <a:gd name="connsiteX9" fmla="*/ 562873 w 563209"/>
                <a:gd name="connsiteY9" fmla="*/ 428625 h 1035612"/>
                <a:gd name="connsiteX10" fmla="*/ 464448 w 563209"/>
                <a:gd name="connsiteY10" fmla="*/ 428625 h 1035612"/>
                <a:gd name="connsiteX11" fmla="*/ 423173 w 563209"/>
                <a:gd name="connsiteY11" fmla="*/ 247650 h 1035612"/>
                <a:gd name="connsiteX12" fmla="*/ 419998 w 563209"/>
                <a:gd name="connsiteY12" fmla="*/ 465138 h 1035612"/>
                <a:gd name="connsiteX13" fmla="*/ 406505 w 563209"/>
                <a:gd name="connsiteY13" fmla="*/ 682625 h 1035612"/>
                <a:gd name="connsiteX14" fmla="*/ 411267 w 563209"/>
                <a:gd name="connsiteY14" fmla="*/ 975519 h 1035612"/>
                <a:gd name="connsiteX15" fmla="*/ 289030 w 563209"/>
                <a:gd name="connsiteY15" fmla="*/ 980281 h 1035612"/>
                <a:gd name="connsiteX16" fmla="*/ 280298 w 563209"/>
                <a:gd name="connsiteY16" fmla="*/ 669925 h 1035612"/>
                <a:gd name="connsiteX17" fmla="*/ 269979 w 563209"/>
                <a:gd name="connsiteY17" fmla="*/ 967581 h 1035612"/>
                <a:gd name="connsiteX18" fmla="*/ 137423 w 563209"/>
                <a:gd name="connsiteY18" fmla="*/ 981075 h 1035612"/>
                <a:gd name="connsiteX0" fmla="*/ 135042 w 563209"/>
                <a:gd name="connsiteY0" fmla="*/ 962025 h 1024722"/>
                <a:gd name="connsiteX1" fmla="*/ 137423 w 563209"/>
                <a:gd name="connsiteY1" fmla="*/ 663575 h 1024722"/>
                <a:gd name="connsiteX2" fmla="*/ 141392 w 563209"/>
                <a:gd name="connsiteY2" fmla="*/ 473869 h 1024722"/>
                <a:gd name="connsiteX3" fmla="*/ 134248 w 563209"/>
                <a:gd name="connsiteY3" fmla="*/ 279400 h 1024722"/>
                <a:gd name="connsiteX4" fmla="*/ 96148 w 563209"/>
                <a:gd name="connsiteY4" fmla="*/ 431800 h 1024722"/>
                <a:gd name="connsiteX5" fmla="*/ 898 w 563209"/>
                <a:gd name="connsiteY5" fmla="*/ 431800 h 1024722"/>
                <a:gd name="connsiteX6" fmla="*/ 239023 w 563209"/>
                <a:gd name="connsiteY6" fmla="*/ 0 h 1024722"/>
                <a:gd name="connsiteX7" fmla="*/ 270773 w 563209"/>
                <a:gd name="connsiteY7" fmla="*/ 34925 h 1024722"/>
                <a:gd name="connsiteX8" fmla="*/ 311255 w 563209"/>
                <a:gd name="connsiteY8" fmla="*/ 3175 h 1024722"/>
                <a:gd name="connsiteX9" fmla="*/ 562873 w 563209"/>
                <a:gd name="connsiteY9" fmla="*/ 428625 h 1024722"/>
                <a:gd name="connsiteX10" fmla="*/ 464448 w 563209"/>
                <a:gd name="connsiteY10" fmla="*/ 428625 h 1024722"/>
                <a:gd name="connsiteX11" fmla="*/ 423173 w 563209"/>
                <a:gd name="connsiteY11" fmla="*/ 247650 h 1024722"/>
                <a:gd name="connsiteX12" fmla="*/ 419998 w 563209"/>
                <a:gd name="connsiteY12" fmla="*/ 465138 h 1024722"/>
                <a:gd name="connsiteX13" fmla="*/ 406505 w 563209"/>
                <a:gd name="connsiteY13" fmla="*/ 682625 h 1024722"/>
                <a:gd name="connsiteX14" fmla="*/ 411267 w 563209"/>
                <a:gd name="connsiteY14" fmla="*/ 975519 h 1024722"/>
                <a:gd name="connsiteX15" fmla="*/ 289030 w 563209"/>
                <a:gd name="connsiteY15" fmla="*/ 980281 h 1024722"/>
                <a:gd name="connsiteX16" fmla="*/ 280298 w 563209"/>
                <a:gd name="connsiteY16" fmla="*/ 669925 h 1024722"/>
                <a:gd name="connsiteX17" fmla="*/ 269979 w 563209"/>
                <a:gd name="connsiteY17" fmla="*/ 967581 h 1024722"/>
                <a:gd name="connsiteX18" fmla="*/ 135042 w 563209"/>
                <a:gd name="connsiteY18" fmla="*/ 962025 h 1024722"/>
                <a:gd name="connsiteX0" fmla="*/ 135042 w 563209"/>
                <a:gd name="connsiteY0" fmla="*/ 962025 h 1024722"/>
                <a:gd name="connsiteX1" fmla="*/ 137423 w 563209"/>
                <a:gd name="connsiteY1" fmla="*/ 663575 h 1024722"/>
                <a:gd name="connsiteX2" fmla="*/ 141392 w 563209"/>
                <a:gd name="connsiteY2" fmla="*/ 473869 h 1024722"/>
                <a:gd name="connsiteX3" fmla="*/ 134248 w 563209"/>
                <a:gd name="connsiteY3" fmla="*/ 279400 h 1024722"/>
                <a:gd name="connsiteX4" fmla="*/ 96148 w 563209"/>
                <a:gd name="connsiteY4" fmla="*/ 431800 h 1024722"/>
                <a:gd name="connsiteX5" fmla="*/ 898 w 563209"/>
                <a:gd name="connsiteY5" fmla="*/ 431800 h 1024722"/>
                <a:gd name="connsiteX6" fmla="*/ 239023 w 563209"/>
                <a:gd name="connsiteY6" fmla="*/ 0 h 1024722"/>
                <a:gd name="connsiteX7" fmla="*/ 270773 w 563209"/>
                <a:gd name="connsiteY7" fmla="*/ 34925 h 1024722"/>
                <a:gd name="connsiteX8" fmla="*/ 311255 w 563209"/>
                <a:gd name="connsiteY8" fmla="*/ 3175 h 1024722"/>
                <a:gd name="connsiteX9" fmla="*/ 562873 w 563209"/>
                <a:gd name="connsiteY9" fmla="*/ 428625 h 1024722"/>
                <a:gd name="connsiteX10" fmla="*/ 464448 w 563209"/>
                <a:gd name="connsiteY10" fmla="*/ 428625 h 1024722"/>
                <a:gd name="connsiteX11" fmla="*/ 423173 w 563209"/>
                <a:gd name="connsiteY11" fmla="*/ 247650 h 1024722"/>
                <a:gd name="connsiteX12" fmla="*/ 419998 w 563209"/>
                <a:gd name="connsiteY12" fmla="*/ 465138 h 1024722"/>
                <a:gd name="connsiteX13" fmla="*/ 406505 w 563209"/>
                <a:gd name="connsiteY13" fmla="*/ 682625 h 1024722"/>
                <a:gd name="connsiteX14" fmla="*/ 411267 w 563209"/>
                <a:gd name="connsiteY14" fmla="*/ 975519 h 1024722"/>
                <a:gd name="connsiteX15" fmla="*/ 289030 w 563209"/>
                <a:gd name="connsiteY15" fmla="*/ 980281 h 1024722"/>
                <a:gd name="connsiteX16" fmla="*/ 280298 w 563209"/>
                <a:gd name="connsiteY16" fmla="*/ 550862 h 1024722"/>
                <a:gd name="connsiteX17" fmla="*/ 269979 w 563209"/>
                <a:gd name="connsiteY17" fmla="*/ 967581 h 1024722"/>
                <a:gd name="connsiteX18" fmla="*/ 135042 w 563209"/>
                <a:gd name="connsiteY18" fmla="*/ 962025 h 1024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63209" h="1024722">
                  <a:moveTo>
                    <a:pt x="135042" y="962025"/>
                  </a:moveTo>
                  <a:cubicBezTo>
                    <a:pt x="135836" y="862542"/>
                    <a:pt x="136629" y="763058"/>
                    <a:pt x="137423" y="663575"/>
                  </a:cubicBezTo>
                  <a:cubicBezTo>
                    <a:pt x="136365" y="566208"/>
                    <a:pt x="142450" y="571236"/>
                    <a:pt x="141392" y="473869"/>
                  </a:cubicBezTo>
                  <a:cubicBezTo>
                    <a:pt x="122342" y="444765"/>
                    <a:pt x="136629" y="344223"/>
                    <a:pt x="134248" y="279400"/>
                  </a:cubicBezTo>
                  <a:cubicBezTo>
                    <a:pt x="112023" y="258762"/>
                    <a:pt x="108848" y="381000"/>
                    <a:pt x="96148" y="431800"/>
                  </a:cubicBezTo>
                  <a:cubicBezTo>
                    <a:pt x="73923" y="477043"/>
                    <a:pt x="27886" y="481806"/>
                    <a:pt x="898" y="431800"/>
                  </a:cubicBezTo>
                  <a:cubicBezTo>
                    <a:pt x="-12596" y="194998"/>
                    <a:pt x="128692" y="32014"/>
                    <a:pt x="239023" y="0"/>
                  </a:cubicBezTo>
                  <a:lnTo>
                    <a:pt x="270773" y="34925"/>
                  </a:lnTo>
                  <a:lnTo>
                    <a:pt x="311255" y="3175"/>
                  </a:lnTo>
                  <a:cubicBezTo>
                    <a:pt x="478472" y="28311"/>
                    <a:pt x="569488" y="270139"/>
                    <a:pt x="562873" y="428625"/>
                  </a:cubicBezTo>
                  <a:cubicBezTo>
                    <a:pt x="544353" y="497681"/>
                    <a:pt x="475825" y="492919"/>
                    <a:pt x="464448" y="428625"/>
                  </a:cubicBezTo>
                  <a:cubicBezTo>
                    <a:pt x="457834" y="358775"/>
                    <a:pt x="448838" y="279400"/>
                    <a:pt x="423173" y="247650"/>
                  </a:cubicBezTo>
                  <a:cubicBezTo>
                    <a:pt x="422115" y="320146"/>
                    <a:pt x="435344" y="423598"/>
                    <a:pt x="419998" y="465138"/>
                  </a:cubicBezTo>
                  <a:cubicBezTo>
                    <a:pt x="399361" y="500327"/>
                    <a:pt x="407563" y="593990"/>
                    <a:pt x="406505" y="682625"/>
                  </a:cubicBezTo>
                  <a:cubicBezTo>
                    <a:pt x="408092" y="780256"/>
                    <a:pt x="409680" y="877888"/>
                    <a:pt x="411267" y="975519"/>
                  </a:cubicBezTo>
                  <a:cubicBezTo>
                    <a:pt x="378459" y="1030288"/>
                    <a:pt x="314694" y="1037431"/>
                    <a:pt x="289030" y="980281"/>
                  </a:cubicBezTo>
                  <a:cubicBezTo>
                    <a:pt x="286913" y="871273"/>
                    <a:pt x="282415" y="540807"/>
                    <a:pt x="280298" y="550862"/>
                  </a:cubicBezTo>
                  <a:cubicBezTo>
                    <a:pt x="257015" y="531812"/>
                    <a:pt x="274212" y="862806"/>
                    <a:pt x="269979" y="967581"/>
                  </a:cubicBezTo>
                  <a:cubicBezTo>
                    <a:pt x="255162" y="1035579"/>
                    <a:pt x="161766" y="1053570"/>
                    <a:pt x="135042" y="962025"/>
                  </a:cubicBezTo>
                  <a:close/>
                </a:path>
              </a:pathLst>
            </a:custGeom>
            <a:solidFill>
              <a:srgbClr val="7C2529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kern="0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15" name="Group 114"/>
          <p:cNvGrpSpPr/>
          <p:nvPr/>
        </p:nvGrpSpPr>
        <p:grpSpPr>
          <a:xfrm>
            <a:off x="284936" y="2868226"/>
            <a:ext cx="301926" cy="463992"/>
            <a:chOff x="284936" y="2859331"/>
            <a:chExt cx="301926" cy="463992"/>
          </a:xfrm>
        </p:grpSpPr>
        <p:grpSp>
          <p:nvGrpSpPr>
            <p:cNvPr id="116" name="Group 115"/>
            <p:cNvGrpSpPr/>
            <p:nvPr/>
          </p:nvGrpSpPr>
          <p:grpSpPr>
            <a:xfrm>
              <a:off x="284936" y="3059770"/>
              <a:ext cx="210046" cy="263553"/>
              <a:chOff x="-1263873" y="1968446"/>
              <a:chExt cx="215640" cy="270572"/>
            </a:xfrm>
          </p:grpSpPr>
          <p:sp>
            <p:nvSpPr>
              <p:cNvPr id="122" name="Rounded Rectangle 24"/>
              <p:cNvSpPr/>
              <p:nvPr/>
            </p:nvSpPr>
            <p:spPr bwMode="gray">
              <a:xfrm>
                <a:off x="-1263873" y="1990125"/>
                <a:ext cx="215640" cy="248893"/>
              </a:xfrm>
              <a:custGeom>
                <a:avLst/>
                <a:gdLst/>
                <a:ahLst/>
                <a:cxnLst/>
                <a:rect l="l" t="t" r="r" b="b"/>
                <a:pathLst>
                  <a:path w="1912621" h="2207554">
                    <a:moveTo>
                      <a:pt x="353909" y="2207554"/>
                    </a:moveTo>
                    <a:lnTo>
                      <a:pt x="353910" y="2207554"/>
                    </a:lnTo>
                    <a:close/>
                    <a:moveTo>
                      <a:pt x="0" y="353909"/>
                    </a:moveTo>
                    <a:lnTo>
                      <a:pt x="0" y="353910"/>
                    </a:lnTo>
                    <a:close/>
                    <a:moveTo>
                      <a:pt x="353910" y="0"/>
                    </a:moveTo>
                    <a:lnTo>
                      <a:pt x="353910" y="1"/>
                    </a:lnTo>
                    <a:lnTo>
                      <a:pt x="1558712" y="1"/>
                    </a:lnTo>
                    <a:cubicBezTo>
                      <a:pt x="1754171" y="1"/>
                      <a:pt x="1912621" y="158451"/>
                      <a:pt x="1912621" y="353910"/>
                    </a:cubicBezTo>
                    <a:lnTo>
                      <a:pt x="1912620" y="353910"/>
                    </a:lnTo>
                    <a:cubicBezTo>
                      <a:pt x="1912620" y="549369"/>
                      <a:pt x="1754170" y="707819"/>
                      <a:pt x="1558711" y="707819"/>
                    </a:cubicBezTo>
                    <a:lnTo>
                      <a:pt x="707819" y="707818"/>
                    </a:lnTo>
                    <a:lnTo>
                      <a:pt x="707818" y="1853645"/>
                    </a:lnTo>
                    <a:cubicBezTo>
                      <a:pt x="707818" y="2049104"/>
                      <a:pt x="549368" y="2207554"/>
                      <a:pt x="353909" y="2207554"/>
                    </a:cubicBezTo>
                    <a:cubicBezTo>
                      <a:pt x="158451" y="2207554"/>
                      <a:pt x="1" y="2049104"/>
                      <a:pt x="1" y="1853645"/>
                    </a:cubicBezTo>
                    <a:lnTo>
                      <a:pt x="1" y="353914"/>
                    </a:lnTo>
                    <a:lnTo>
                      <a:pt x="0" y="353910"/>
                    </a:lnTo>
                    <a:cubicBezTo>
                      <a:pt x="0" y="256180"/>
                      <a:pt x="39613" y="167703"/>
                      <a:pt x="103658" y="103658"/>
                    </a:cubicBezTo>
                    <a:cubicBezTo>
                      <a:pt x="167703" y="39613"/>
                      <a:pt x="256180" y="0"/>
                      <a:pt x="353910" y="0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algn="ctr">
                  <a:defRPr/>
                </a:pPr>
                <a:endParaRPr lang="en-US" kern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3" name="Oval 18"/>
              <p:cNvSpPr/>
              <p:nvPr/>
            </p:nvSpPr>
            <p:spPr bwMode="gray">
              <a:xfrm flipH="1">
                <a:off x="-1244334" y="2039315"/>
                <a:ext cx="69119" cy="51875"/>
              </a:xfrm>
              <a:custGeom>
                <a:avLst/>
                <a:gdLst>
                  <a:gd name="connsiteX0" fmla="*/ 164307 w 610672"/>
                  <a:gd name="connsiteY0" fmla="*/ 0 h 683947"/>
                  <a:gd name="connsiteX1" fmla="*/ 437604 w 610672"/>
                  <a:gd name="connsiteY1" fmla="*/ 416894 h 683947"/>
                  <a:gd name="connsiteX2" fmla="*/ 507087 w 610672"/>
                  <a:gd name="connsiteY2" fmla="*/ 389091 h 683947"/>
                  <a:gd name="connsiteX3" fmla="*/ 610672 w 610672"/>
                  <a:gd name="connsiteY3" fmla="*/ 492676 h 683947"/>
                  <a:gd name="connsiteX4" fmla="*/ 507087 w 610672"/>
                  <a:gd name="connsiteY4" fmla="*/ 596261 h 683947"/>
                  <a:gd name="connsiteX5" fmla="*/ 425012 w 610672"/>
                  <a:gd name="connsiteY5" fmla="*/ 552825 h 683947"/>
                  <a:gd name="connsiteX6" fmla="*/ 430571 w 610672"/>
                  <a:gd name="connsiteY6" fmla="*/ 580362 h 683947"/>
                  <a:gd name="connsiteX7" fmla="*/ 326986 w 610672"/>
                  <a:gd name="connsiteY7" fmla="*/ 683947 h 683947"/>
                  <a:gd name="connsiteX8" fmla="*/ 223401 w 610672"/>
                  <a:gd name="connsiteY8" fmla="*/ 580362 h 683947"/>
                  <a:gd name="connsiteX9" fmla="*/ 280361 w 610672"/>
                  <a:gd name="connsiteY9" fmla="*/ 489169 h 683947"/>
                  <a:gd name="connsiteX10" fmla="*/ 0 w 610672"/>
                  <a:gd name="connsiteY10" fmla="*/ 397669 h 683947"/>
                  <a:gd name="connsiteX11" fmla="*/ 164307 w 610672"/>
                  <a:gd name="connsiteY11" fmla="*/ 0 h 683947"/>
                  <a:gd name="connsiteX0" fmla="*/ 123826 w 610672"/>
                  <a:gd name="connsiteY0" fmla="*/ 0 h 395816"/>
                  <a:gd name="connsiteX1" fmla="*/ 437604 w 610672"/>
                  <a:gd name="connsiteY1" fmla="*/ 128763 h 395816"/>
                  <a:gd name="connsiteX2" fmla="*/ 507087 w 610672"/>
                  <a:gd name="connsiteY2" fmla="*/ 100960 h 395816"/>
                  <a:gd name="connsiteX3" fmla="*/ 610672 w 610672"/>
                  <a:gd name="connsiteY3" fmla="*/ 204545 h 395816"/>
                  <a:gd name="connsiteX4" fmla="*/ 507087 w 610672"/>
                  <a:gd name="connsiteY4" fmla="*/ 308130 h 395816"/>
                  <a:gd name="connsiteX5" fmla="*/ 425012 w 610672"/>
                  <a:gd name="connsiteY5" fmla="*/ 264694 h 395816"/>
                  <a:gd name="connsiteX6" fmla="*/ 430571 w 610672"/>
                  <a:gd name="connsiteY6" fmla="*/ 292231 h 395816"/>
                  <a:gd name="connsiteX7" fmla="*/ 326986 w 610672"/>
                  <a:gd name="connsiteY7" fmla="*/ 395816 h 395816"/>
                  <a:gd name="connsiteX8" fmla="*/ 223401 w 610672"/>
                  <a:gd name="connsiteY8" fmla="*/ 292231 h 395816"/>
                  <a:gd name="connsiteX9" fmla="*/ 280361 w 610672"/>
                  <a:gd name="connsiteY9" fmla="*/ 201038 h 395816"/>
                  <a:gd name="connsiteX10" fmla="*/ 0 w 610672"/>
                  <a:gd name="connsiteY10" fmla="*/ 109538 h 395816"/>
                  <a:gd name="connsiteX11" fmla="*/ 123826 w 610672"/>
                  <a:gd name="connsiteY11" fmla="*/ 0 h 395816"/>
                  <a:gd name="connsiteX0" fmla="*/ 111920 w 610672"/>
                  <a:gd name="connsiteY0" fmla="*/ 0 h 460109"/>
                  <a:gd name="connsiteX1" fmla="*/ 437604 w 610672"/>
                  <a:gd name="connsiteY1" fmla="*/ 193056 h 460109"/>
                  <a:gd name="connsiteX2" fmla="*/ 507087 w 610672"/>
                  <a:gd name="connsiteY2" fmla="*/ 165253 h 460109"/>
                  <a:gd name="connsiteX3" fmla="*/ 610672 w 610672"/>
                  <a:gd name="connsiteY3" fmla="*/ 268838 h 460109"/>
                  <a:gd name="connsiteX4" fmla="*/ 507087 w 610672"/>
                  <a:gd name="connsiteY4" fmla="*/ 372423 h 460109"/>
                  <a:gd name="connsiteX5" fmla="*/ 425012 w 610672"/>
                  <a:gd name="connsiteY5" fmla="*/ 328987 h 460109"/>
                  <a:gd name="connsiteX6" fmla="*/ 430571 w 610672"/>
                  <a:gd name="connsiteY6" fmla="*/ 356524 h 460109"/>
                  <a:gd name="connsiteX7" fmla="*/ 326986 w 610672"/>
                  <a:gd name="connsiteY7" fmla="*/ 460109 h 460109"/>
                  <a:gd name="connsiteX8" fmla="*/ 223401 w 610672"/>
                  <a:gd name="connsiteY8" fmla="*/ 356524 h 460109"/>
                  <a:gd name="connsiteX9" fmla="*/ 280361 w 610672"/>
                  <a:gd name="connsiteY9" fmla="*/ 265331 h 460109"/>
                  <a:gd name="connsiteX10" fmla="*/ 0 w 610672"/>
                  <a:gd name="connsiteY10" fmla="*/ 173831 h 460109"/>
                  <a:gd name="connsiteX11" fmla="*/ 111920 w 610672"/>
                  <a:gd name="connsiteY11" fmla="*/ 0 h 460109"/>
                  <a:gd name="connsiteX0" fmla="*/ 114301 w 613053"/>
                  <a:gd name="connsiteY0" fmla="*/ 0 h 460109"/>
                  <a:gd name="connsiteX1" fmla="*/ 439985 w 613053"/>
                  <a:gd name="connsiteY1" fmla="*/ 193056 h 460109"/>
                  <a:gd name="connsiteX2" fmla="*/ 509468 w 613053"/>
                  <a:gd name="connsiteY2" fmla="*/ 165253 h 460109"/>
                  <a:gd name="connsiteX3" fmla="*/ 613053 w 613053"/>
                  <a:gd name="connsiteY3" fmla="*/ 268838 h 460109"/>
                  <a:gd name="connsiteX4" fmla="*/ 509468 w 613053"/>
                  <a:gd name="connsiteY4" fmla="*/ 372423 h 460109"/>
                  <a:gd name="connsiteX5" fmla="*/ 427393 w 613053"/>
                  <a:gd name="connsiteY5" fmla="*/ 328987 h 460109"/>
                  <a:gd name="connsiteX6" fmla="*/ 432952 w 613053"/>
                  <a:gd name="connsiteY6" fmla="*/ 356524 h 460109"/>
                  <a:gd name="connsiteX7" fmla="*/ 329367 w 613053"/>
                  <a:gd name="connsiteY7" fmla="*/ 460109 h 460109"/>
                  <a:gd name="connsiteX8" fmla="*/ 225782 w 613053"/>
                  <a:gd name="connsiteY8" fmla="*/ 356524 h 460109"/>
                  <a:gd name="connsiteX9" fmla="*/ 282742 w 613053"/>
                  <a:gd name="connsiteY9" fmla="*/ 265331 h 460109"/>
                  <a:gd name="connsiteX10" fmla="*/ 0 w 613053"/>
                  <a:gd name="connsiteY10" fmla="*/ 152400 h 460109"/>
                  <a:gd name="connsiteX11" fmla="*/ 114301 w 613053"/>
                  <a:gd name="connsiteY11" fmla="*/ 0 h 460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13053" h="460109">
                    <a:moveTo>
                      <a:pt x="114301" y="0"/>
                    </a:moveTo>
                    <a:lnTo>
                      <a:pt x="439985" y="193056"/>
                    </a:lnTo>
                    <a:cubicBezTo>
                      <a:pt x="457899" y="175576"/>
                      <a:pt x="482478" y="165253"/>
                      <a:pt x="509468" y="165253"/>
                    </a:cubicBezTo>
                    <a:cubicBezTo>
                      <a:pt x="566676" y="165253"/>
                      <a:pt x="613053" y="211630"/>
                      <a:pt x="613053" y="268838"/>
                    </a:cubicBezTo>
                    <a:cubicBezTo>
                      <a:pt x="613053" y="326046"/>
                      <a:pt x="566676" y="372423"/>
                      <a:pt x="509468" y="372423"/>
                    </a:cubicBezTo>
                    <a:cubicBezTo>
                      <a:pt x="475170" y="372423"/>
                      <a:pt x="444765" y="355753"/>
                      <a:pt x="427393" y="328987"/>
                    </a:cubicBezTo>
                    <a:cubicBezTo>
                      <a:pt x="431616" y="337416"/>
                      <a:pt x="432952" y="346814"/>
                      <a:pt x="432952" y="356524"/>
                    </a:cubicBezTo>
                    <a:cubicBezTo>
                      <a:pt x="432952" y="413732"/>
                      <a:pt x="386575" y="460109"/>
                      <a:pt x="329367" y="460109"/>
                    </a:cubicBezTo>
                    <a:cubicBezTo>
                      <a:pt x="272159" y="460109"/>
                      <a:pt x="225782" y="413732"/>
                      <a:pt x="225782" y="356524"/>
                    </a:cubicBezTo>
                    <a:cubicBezTo>
                      <a:pt x="225782" y="316303"/>
                      <a:pt x="248706" y="281436"/>
                      <a:pt x="282742" y="265331"/>
                    </a:cubicBezTo>
                    <a:lnTo>
                      <a:pt x="0" y="152400"/>
                    </a:lnTo>
                    <a:cubicBezTo>
                      <a:pt x="26194" y="98425"/>
                      <a:pt x="88107" y="53975"/>
                      <a:pt x="114301" y="0"/>
                    </a:cubicBezTo>
                    <a:close/>
                  </a:path>
                </a:pathLst>
              </a:custGeom>
              <a:solidFill>
                <a:srgbClr val="E8772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algn="ctr">
                  <a:defRPr/>
                </a:pPr>
                <a:endParaRPr lang="en-US" kern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4" name="Oval 18"/>
              <p:cNvSpPr/>
              <p:nvPr/>
            </p:nvSpPr>
            <p:spPr bwMode="gray">
              <a:xfrm rot="1188794" flipH="1" flipV="1">
                <a:off x="-1262097" y="1968446"/>
                <a:ext cx="57650" cy="79539"/>
              </a:xfrm>
              <a:custGeom>
                <a:avLst/>
                <a:gdLst>
                  <a:gd name="connsiteX0" fmla="*/ 138323 w 524947"/>
                  <a:gd name="connsiteY0" fmla="*/ 0 h 705471"/>
                  <a:gd name="connsiteX1" fmla="*/ 351879 w 524947"/>
                  <a:gd name="connsiteY1" fmla="*/ 438418 h 705471"/>
                  <a:gd name="connsiteX2" fmla="*/ 421362 w 524947"/>
                  <a:gd name="connsiteY2" fmla="*/ 410615 h 705471"/>
                  <a:gd name="connsiteX3" fmla="*/ 524947 w 524947"/>
                  <a:gd name="connsiteY3" fmla="*/ 514200 h 705471"/>
                  <a:gd name="connsiteX4" fmla="*/ 421362 w 524947"/>
                  <a:gd name="connsiteY4" fmla="*/ 617785 h 705471"/>
                  <a:gd name="connsiteX5" fmla="*/ 339287 w 524947"/>
                  <a:gd name="connsiteY5" fmla="*/ 574349 h 705471"/>
                  <a:gd name="connsiteX6" fmla="*/ 344846 w 524947"/>
                  <a:gd name="connsiteY6" fmla="*/ 601886 h 705471"/>
                  <a:gd name="connsiteX7" fmla="*/ 241261 w 524947"/>
                  <a:gd name="connsiteY7" fmla="*/ 705471 h 705471"/>
                  <a:gd name="connsiteX8" fmla="*/ 137676 w 524947"/>
                  <a:gd name="connsiteY8" fmla="*/ 601886 h 705471"/>
                  <a:gd name="connsiteX9" fmla="*/ 194636 w 524947"/>
                  <a:gd name="connsiteY9" fmla="*/ 510693 h 705471"/>
                  <a:gd name="connsiteX10" fmla="*/ 0 w 524947"/>
                  <a:gd name="connsiteY10" fmla="*/ 183449 h 705471"/>
                  <a:gd name="connsiteX11" fmla="*/ 138323 w 524947"/>
                  <a:gd name="connsiteY11" fmla="*/ 0 h 705471"/>
                  <a:gd name="connsiteX0" fmla="*/ 100809 w 487433"/>
                  <a:gd name="connsiteY0" fmla="*/ 0 h 705471"/>
                  <a:gd name="connsiteX1" fmla="*/ 314365 w 487433"/>
                  <a:gd name="connsiteY1" fmla="*/ 438418 h 705471"/>
                  <a:gd name="connsiteX2" fmla="*/ 383848 w 487433"/>
                  <a:gd name="connsiteY2" fmla="*/ 410615 h 705471"/>
                  <a:gd name="connsiteX3" fmla="*/ 487433 w 487433"/>
                  <a:gd name="connsiteY3" fmla="*/ 514200 h 705471"/>
                  <a:gd name="connsiteX4" fmla="*/ 383848 w 487433"/>
                  <a:gd name="connsiteY4" fmla="*/ 617785 h 705471"/>
                  <a:gd name="connsiteX5" fmla="*/ 301773 w 487433"/>
                  <a:gd name="connsiteY5" fmla="*/ 574349 h 705471"/>
                  <a:gd name="connsiteX6" fmla="*/ 307332 w 487433"/>
                  <a:gd name="connsiteY6" fmla="*/ 601886 h 705471"/>
                  <a:gd name="connsiteX7" fmla="*/ 203747 w 487433"/>
                  <a:gd name="connsiteY7" fmla="*/ 705471 h 705471"/>
                  <a:gd name="connsiteX8" fmla="*/ 100162 w 487433"/>
                  <a:gd name="connsiteY8" fmla="*/ 601886 h 705471"/>
                  <a:gd name="connsiteX9" fmla="*/ 157122 w 487433"/>
                  <a:gd name="connsiteY9" fmla="*/ 510693 h 705471"/>
                  <a:gd name="connsiteX10" fmla="*/ 0 w 487433"/>
                  <a:gd name="connsiteY10" fmla="*/ 156435 h 705471"/>
                  <a:gd name="connsiteX11" fmla="*/ 100809 w 487433"/>
                  <a:gd name="connsiteY11" fmla="*/ 0 h 705471"/>
                  <a:gd name="connsiteX0" fmla="*/ 100809 w 487433"/>
                  <a:gd name="connsiteY0" fmla="*/ 0 h 705471"/>
                  <a:gd name="connsiteX1" fmla="*/ 314365 w 487433"/>
                  <a:gd name="connsiteY1" fmla="*/ 438418 h 705471"/>
                  <a:gd name="connsiteX2" fmla="*/ 383848 w 487433"/>
                  <a:gd name="connsiteY2" fmla="*/ 410615 h 705471"/>
                  <a:gd name="connsiteX3" fmla="*/ 487433 w 487433"/>
                  <a:gd name="connsiteY3" fmla="*/ 514200 h 705471"/>
                  <a:gd name="connsiteX4" fmla="*/ 383848 w 487433"/>
                  <a:gd name="connsiteY4" fmla="*/ 617785 h 705471"/>
                  <a:gd name="connsiteX5" fmla="*/ 301773 w 487433"/>
                  <a:gd name="connsiteY5" fmla="*/ 574349 h 705471"/>
                  <a:gd name="connsiteX6" fmla="*/ 307332 w 487433"/>
                  <a:gd name="connsiteY6" fmla="*/ 601886 h 705471"/>
                  <a:gd name="connsiteX7" fmla="*/ 203747 w 487433"/>
                  <a:gd name="connsiteY7" fmla="*/ 705471 h 705471"/>
                  <a:gd name="connsiteX8" fmla="*/ 100162 w 487433"/>
                  <a:gd name="connsiteY8" fmla="*/ 601886 h 705471"/>
                  <a:gd name="connsiteX9" fmla="*/ 157122 w 487433"/>
                  <a:gd name="connsiteY9" fmla="*/ 510693 h 705471"/>
                  <a:gd name="connsiteX10" fmla="*/ 0 w 487433"/>
                  <a:gd name="connsiteY10" fmla="*/ 156435 h 705471"/>
                  <a:gd name="connsiteX11" fmla="*/ 100809 w 487433"/>
                  <a:gd name="connsiteY11" fmla="*/ 0 h 705471"/>
                  <a:gd name="connsiteX0" fmla="*/ 124706 w 511330"/>
                  <a:gd name="connsiteY0" fmla="*/ 0 h 705471"/>
                  <a:gd name="connsiteX1" fmla="*/ 338262 w 511330"/>
                  <a:gd name="connsiteY1" fmla="*/ 438418 h 705471"/>
                  <a:gd name="connsiteX2" fmla="*/ 407745 w 511330"/>
                  <a:gd name="connsiteY2" fmla="*/ 410615 h 705471"/>
                  <a:gd name="connsiteX3" fmla="*/ 511330 w 511330"/>
                  <a:gd name="connsiteY3" fmla="*/ 514200 h 705471"/>
                  <a:gd name="connsiteX4" fmla="*/ 407745 w 511330"/>
                  <a:gd name="connsiteY4" fmla="*/ 617785 h 705471"/>
                  <a:gd name="connsiteX5" fmla="*/ 325670 w 511330"/>
                  <a:gd name="connsiteY5" fmla="*/ 574349 h 705471"/>
                  <a:gd name="connsiteX6" fmla="*/ 331229 w 511330"/>
                  <a:gd name="connsiteY6" fmla="*/ 601886 h 705471"/>
                  <a:gd name="connsiteX7" fmla="*/ 227644 w 511330"/>
                  <a:gd name="connsiteY7" fmla="*/ 705471 h 705471"/>
                  <a:gd name="connsiteX8" fmla="*/ 124059 w 511330"/>
                  <a:gd name="connsiteY8" fmla="*/ 601886 h 705471"/>
                  <a:gd name="connsiteX9" fmla="*/ 181019 w 511330"/>
                  <a:gd name="connsiteY9" fmla="*/ 510693 h 705471"/>
                  <a:gd name="connsiteX10" fmla="*/ 0 w 511330"/>
                  <a:gd name="connsiteY10" fmla="*/ 165044 h 705471"/>
                  <a:gd name="connsiteX11" fmla="*/ 124706 w 511330"/>
                  <a:gd name="connsiteY11" fmla="*/ 0 h 7054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11330" h="705471">
                    <a:moveTo>
                      <a:pt x="124706" y="0"/>
                    </a:moveTo>
                    <a:lnTo>
                      <a:pt x="338262" y="438418"/>
                    </a:lnTo>
                    <a:cubicBezTo>
                      <a:pt x="356176" y="420938"/>
                      <a:pt x="380755" y="410615"/>
                      <a:pt x="407745" y="410615"/>
                    </a:cubicBezTo>
                    <a:cubicBezTo>
                      <a:pt x="464953" y="410615"/>
                      <a:pt x="511330" y="456992"/>
                      <a:pt x="511330" y="514200"/>
                    </a:cubicBezTo>
                    <a:cubicBezTo>
                      <a:pt x="511330" y="571408"/>
                      <a:pt x="464953" y="617785"/>
                      <a:pt x="407745" y="617785"/>
                    </a:cubicBezTo>
                    <a:cubicBezTo>
                      <a:pt x="373447" y="617785"/>
                      <a:pt x="343042" y="601115"/>
                      <a:pt x="325670" y="574349"/>
                    </a:cubicBezTo>
                    <a:cubicBezTo>
                      <a:pt x="329893" y="582778"/>
                      <a:pt x="331229" y="592176"/>
                      <a:pt x="331229" y="601886"/>
                    </a:cubicBezTo>
                    <a:cubicBezTo>
                      <a:pt x="331229" y="659094"/>
                      <a:pt x="284852" y="705471"/>
                      <a:pt x="227644" y="705471"/>
                    </a:cubicBezTo>
                    <a:cubicBezTo>
                      <a:pt x="170436" y="705471"/>
                      <a:pt x="124059" y="659094"/>
                      <a:pt x="124059" y="601886"/>
                    </a:cubicBezTo>
                    <a:cubicBezTo>
                      <a:pt x="124059" y="561665"/>
                      <a:pt x="146983" y="526798"/>
                      <a:pt x="181019" y="510693"/>
                    </a:cubicBezTo>
                    <a:lnTo>
                      <a:pt x="0" y="165044"/>
                    </a:lnTo>
                    <a:cubicBezTo>
                      <a:pt x="26194" y="111069"/>
                      <a:pt x="98512" y="53975"/>
                      <a:pt x="124706" y="0"/>
                    </a:cubicBezTo>
                    <a:close/>
                  </a:path>
                </a:pathLst>
              </a:custGeom>
              <a:solidFill>
                <a:srgbClr val="E8772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algn="ctr">
                  <a:defRPr/>
                </a:pPr>
                <a:endParaRPr lang="en-US" kern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5" name="Freeform 124"/>
              <p:cNvSpPr/>
              <p:nvPr/>
            </p:nvSpPr>
            <p:spPr bwMode="gray">
              <a:xfrm flipH="1">
                <a:off x="-1259334" y="2075190"/>
                <a:ext cx="34905" cy="26042"/>
              </a:xfrm>
              <a:custGeom>
                <a:avLst/>
                <a:gdLst>
                  <a:gd name="connsiteX0" fmla="*/ 185737 w 250031"/>
                  <a:gd name="connsiteY0" fmla="*/ 0 h 230981"/>
                  <a:gd name="connsiteX1" fmla="*/ 250031 w 250031"/>
                  <a:gd name="connsiteY1" fmla="*/ 230981 h 230981"/>
                  <a:gd name="connsiteX2" fmla="*/ 0 w 250031"/>
                  <a:gd name="connsiteY2" fmla="*/ 176212 h 230981"/>
                  <a:gd name="connsiteX3" fmla="*/ 0 w 250031"/>
                  <a:gd name="connsiteY3" fmla="*/ 119062 h 230981"/>
                  <a:gd name="connsiteX4" fmla="*/ 185737 w 250031"/>
                  <a:gd name="connsiteY4" fmla="*/ 0 h 230981"/>
                  <a:gd name="connsiteX0" fmla="*/ 185737 w 259243"/>
                  <a:gd name="connsiteY0" fmla="*/ 0 h 230981"/>
                  <a:gd name="connsiteX1" fmla="*/ 250031 w 259243"/>
                  <a:gd name="connsiteY1" fmla="*/ 230981 h 230981"/>
                  <a:gd name="connsiteX2" fmla="*/ 0 w 259243"/>
                  <a:gd name="connsiteY2" fmla="*/ 176212 h 230981"/>
                  <a:gd name="connsiteX3" fmla="*/ 0 w 259243"/>
                  <a:gd name="connsiteY3" fmla="*/ 119062 h 230981"/>
                  <a:gd name="connsiteX4" fmla="*/ 185737 w 259243"/>
                  <a:gd name="connsiteY4" fmla="*/ 0 h 230981"/>
                  <a:gd name="connsiteX0" fmla="*/ 185737 w 259243"/>
                  <a:gd name="connsiteY0" fmla="*/ 2144 h 233125"/>
                  <a:gd name="connsiteX1" fmla="*/ 250031 w 259243"/>
                  <a:gd name="connsiteY1" fmla="*/ 233125 h 233125"/>
                  <a:gd name="connsiteX2" fmla="*/ 0 w 259243"/>
                  <a:gd name="connsiteY2" fmla="*/ 178356 h 233125"/>
                  <a:gd name="connsiteX3" fmla="*/ 0 w 259243"/>
                  <a:gd name="connsiteY3" fmla="*/ 121206 h 233125"/>
                  <a:gd name="connsiteX4" fmla="*/ 185737 w 259243"/>
                  <a:gd name="connsiteY4" fmla="*/ 2144 h 233125"/>
                  <a:gd name="connsiteX0" fmla="*/ 185737 w 259243"/>
                  <a:gd name="connsiteY0" fmla="*/ 2144 h 240591"/>
                  <a:gd name="connsiteX1" fmla="*/ 250031 w 259243"/>
                  <a:gd name="connsiteY1" fmla="*/ 233125 h 240591"/>
                  <a:gd name="connsiteX2" fmla="*/ 0 w 259243"/>
                  <a:gd name="connsiteY2" fmla="*/ 178356 h 240591"/>
                  <a:gd name="connsiteX3" fmla="*/ 0 w 259243"/>
                  <a:gd name="connsiteY3" fmla="*/ 121206 h 240591"/>
                  <a:gd name="connsiteX4" fmla="*/ 185737 w 259243"/>
                  <a:gd name="connsiteY4" fmla="*/ 2144 h 240591"/>
                  <a:gd name="connsiteX0" fmla="*/ 185737 w 259243"/>
                  <a:gd name="connsiteY0" fmla="*/ 2144 h 238610"/>
                  <a:gd name="connsiteX1" fmla="*/ 250031 w 259243"/>
                  <a:gd name="connsiteY1" fmla="*/ 233125 h 238610"/>
                  <a:gd name="connsiteX2" fmla="*/ 0 w 259243"/>
                  <a:gd name="connsiteY2" fmla="*/ 178356 h 238610"/>
                  <a:gd name="connsiteX3" fmla="*/ 0 w 259243"/>
                  <a:gd name="connsiteY3" fmla="*/ 121206 h 238610"/>
                  <a:gd name="connsiteX4" fmla="*/ 185737 w 259243"/>
                  <a:gd name="connsiteY4" fmla="*/ 2144 h 238610"/>
                  <a:gd name="connsiteX0" fmla="*/ 185737 w 259243"/>
                  <a:gd name="connsiteY0" fmla="*/ 2144 h 233125"/>
                  <a:gd name="connsiteX1" fmla="*/ 250031 w 259243"/>
                  <a:gd name="connsiteY1" fmla="*/ 233125 h 233125"/>
                  <a:gd name="connsiteX2" fmla="*/ 0 w 259243"/>
                  <a:gd name="connsiteY2" fmla="*/ 178356 h 233125"/>
                  <a:gd name="connsiteX3" fmla="*/ 0 w 259243"/>
                  <a:gd name="connsiteY3" fmla="*/ 121206 h 233125"/>
                  <a:gd name="connsiteX4" fmla="*/ 185737 w 259243"/>
                  <a:gd name="connsiteY4" fmla="*/ 2144 h 233125"/>
                  <a:gd name="connsiteX0" fmla="*/ 185737 w 259243"/>
                  <a:gd name="connsiteY0" fmla="*/ 0 h 230981"/>
                  <a:gd name="connsiteX1" fmla="*/ 250031 w 259243"/>
                  <a:gd name="connsiteY1" fmla="*/ 230981 h 230981"/>
                  <a:gd name="connsiteX2" fmla="*/ 0 w 259243"/>
                  <a:gd name="connsiteY2" fmla="*/ 176212 h 230981"/>
                  <a:gd name="connsiteX3" fmla="*/ 0 w 259243"/>
                  <a:gd name="connsiteY3" fmla="*/ 119062 h 230981"/>
                  <a:gd name="connsiteX4" fmla="*/ 185737 w 259243"/>
                  <a:gd name="connsiteY4" fmla="*/ 0 h 230981"/>
                  <a:gd name="connsiteX0" fmla="*/ 185737 w 259243"/>
                  <a:gd name="connsiteY0" fmla="*/ 0 h 230981"/>
                  <a:gd name="connsiteX1" fmla="*/ 250031 w 259243"/>
                  <a:gd name="connsiteY1" fmla="*/ 230981 h 230981"/>
                  <a:gd name="connsiteX2" fmla="*/ 0 w 259243"/>
                  <a:gd name="connsiteY2" fmla="*/ 176212 h 230981"/>
                  <a:gd name="connsiteX3" fmla="*/ 0 w 259243"/>
                  <a:gd name="connsiteY3" fmla="*/ 119062 h 230981"/>
                  <a:gd name="connsiteX4" fmla="*/ 185737 w 259243"/>
                  <a:gd name="connsiteY4" fmla="*/ 0 h 230981"/>
                  <a:gd name="connsiteX0" fmla="*/ 213119 w 286625"/>
                  <a:gd name="connsiteY0" fmla="*/ 0 h 230981"/>
                  <a:gd name="connsiteX1" fmla="*/ 277413 w 286625"/>
                  <a:gd name="connsiteY1" fmla="*/ 230981 h 230981"/>
                  <a:gd name="connsiteX2" fmla="*/ 27382 w 286625"/>
                  <a:gd name="connsiteY2" fmla="*/ 176212 h 230981"/>
                  <a:gd name="connsiteX3" fmla="*/ 27382 w 286625"/>
                  <a:gd name="connsiteY3" fmla="*/ 119062 h 230981"/>
                  <a:gd name="connsiteX4" fmla="*/ 213119 w 286625"/>
                  <a:gd name="connsiteY4" fmla="*/ 0 h 230981"/>
                  <a:gd name="connsiteX0" fmla="*/ 216017 w 289523"/>
                  <a:gd name="connsiteY0" fmla="*/ 0 h 230981"/>
                  <a:gd name="connsiteX1" fmla="*/ 280311 w 289523"/>
                  <a:gd name="connsiteY1" fmla="*/ 230981 h 230981"/>
                  <a:gd name="connsiteX2" fmla="*/ 30280 w 289523"/>
                  <a:gd name="connsiteY2" fmla="*/ 176212 h 230981"/>
                  <a:gd name="connsiteX3" fmla="*/ 30280 w 289523"/>
                  <a:gd name="connsiteY3" fmla="*/ 119062 h 230981"/>
                  <a:gd name="connsiteX4" fmla="*/ 216017 w 289523"/>
                  <a:gd name="connsiteY4" fmla="*/ 0 h 230981"/>
                  <a:gd name="connsiteX0" fmla="*/ 220979 w 294485"/>
                  <a:gd name="connsiteY0" fmla="*/ 0 h 230981"/>
                  <a:gd name="connsiteX1" fmla="*/ 285273 w 294485"/>
                  <a:gd name="connsiteY1" fmla="*/ 230981 h 230981"/>
                  <a:gd name="connsiteX2" fmla="*/ 35242 w 294485"/>
                  <a:gd name="connsiteY2" fmla="*/ 176212 h 230981"/>
                  <a:gd name="connsiteX3" fmla="*/ 35242 w 294485"/>
                  <a:gd name="connsiteY3" fmla="*/ 119062 h 230981"/>
                  <a:gd name="connsiteX4" fmla="*/ 220979 w 294485"/>
                  <a:gd name="connsiteY4" fmla="*/ 0 h 230981"/>
                  <a:gd name="connsiteX0" fmla="*/ 232627 w 306133"/>
                  <a:gd name="connsiteY0" fmla="*/ 0 h 230981"/>
                  <a:gd name="connsiteX1" fmla="*/ 296921 w 306133"/>
                  <a:gd name="connsiteY1" fmla="*/ 230981 h 230981"/>
                  <a:gd name="connsiteX2" fmla="*/ 46890 w 306133"/>
                  <a:gd name="connsiteY2" fmla="*/ 176212 h 230981"/>
                  <a:gd name="connsiteX3" fmla="*/ 46890 w 306133"/>
                  <a:gd name="connsiteY3" fmla="*/ 119062 h 230981"/>
                  <a:gd name="connsiteX4" fmla="*/ 232627 w 306133"/>
                  <a:gd name="connsiteY4" fmla="*/ 0 h 230981"/>
                  <a:gd name="connsiteX0" fmla="*/ 232627 w 309595"/>
                  <a:gd name="connsiteY0" fmla="*/ 0 h 230981"/>
                  <a:gd name="connsiteX1" fmla="*/ 296921 w 309595"/>
                  <a:gd name="connsiteY1" fmla="*/ 230981 h 230981"/>
                  <a:gd name="connsiteX2" fmla="*/ 46890 w 309595"/>
                  <a:gd name="connsiteY2" fmla="*/ 176212 h 230981"/>
                  <a:gd name="connsiteX3" fmla="*/ 46890 w 309595"/>
                  <a:gd name="connsiteY3" fmla="*/ 119062 h 230981"/>
                  <a:gd name="connsiteX4" fmla="*/ 232627 w 309595"/>
                  <a:gd name="connsiteY4" fmla="*/ 0 h 2309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9595" h="230981">
                    <a:moveTo>
                      <a:pt x="232627" y="0"/>
                    </a:moveTo>
                    <a:cubicBezTo>
                      <a:pt x="300493" y="16272"/>
                      <a:pt x="327877" y="201612"/>
                      <a:pt x="296921" y="230981"/>
                    </a:cubicBezTo>
                    <a:cubicBezTo>
                      <a:pt x="201672" y="127000"/>
                      <a:pt x="107612" y="161528"/>
                      <a:pt x="46890" y="176212"/>
                    </a:cubicBezTo>
                    <a:cubicBezTo>
                      <a:pt x="-13832" y="186134"/>
                      <a:pt x="-17403" y="131763"/>
                      <a:pt x="46890" y="119062"/>
                    </a:cubicBezTo>
                    <a:cubicBezTo>
                      <a:pt x="82608" y="99218"/>
                      <a:pt x="190955" y="157559"/>
                      <a:pt x="232627" y="0"/>
                    </a:cubicBezTo>
                    <a:close/>
                  </a:path>
                </a:pathLst>
              </a:custGeom>
              <a:solidFill>
                <a:srgbClr val="E8772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algn="ctr">
                  <a:defRPr/>
                </a:pPr>
                <a:endParaRPr lang="en-US" kern="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17" name="Group 116"/>
            <p:cNvGrpSpPr/>
            <p:nvPr/>
          </p:nvGrpSpPr>
          <p:grpSpPr>
            <a:xfrm>
              <a:off x="363970" y="2859331"/>
              <a:ext cx="222892" cy="381297"/>
              <a:chOff x="-5050188" y="1901460"/>
              <a:chExt cx="1221933" cy="2090343"/>
            </a:xfrm>
          </p:grpSpPr>
          <p:sp>
            <p:nvSpPr>
              <p:cNvPr id="118" name="Oval 117"/>
              <p:cNvSpPr/>
              <p:nvPr/>
            </p:nvSpPr>
            <p:spPr bwMode="gray">
              <a:xfrm>
                <a:off x="-5050188" y="1901460"/>
                <a:ext cx="498077" cy="498076"/>
              </a:xfrm>
              <a:prstGeom prst="ellipse">
                <a:avLst/>
              </a:prstGeom>
              <a:solidFill>
                <a:sysClr val="window" lastClr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algn="ctr">
                  <a:defRPr/>
                </a:pPr>
                <a:endParaRPr lang="en-US" kern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19" name="Rounded Rectangle 23"/>
              <p:cNvSpPr/>
              <p:nvPr/>
            </p:nvSpPr>
            <p:spPr bwMode="gray">
              <a:xfrm rot="20205796">
                <a:off x="-4748223" y="2354927"/>
                <a:ext cx="537960" cy="1024469"/>
              </a:xfrm>
              <a:custGeom>
                <a:avLst/>
                <a:gdLst>
                  <a:gd name="connsiteX0" fmla="*/ 1181770 w 1448552"/>
                  <a:gd name="connsiteY0" fmla="*/ 43778 h 2758568"/>
                  <a:gd name="connsiteX1" fmla="*/ 1401779 w 1448552"/>
                  <a:gd name="connsiteY1" fmla="*/ 452787 h 2758568"/>
                  <a:gd name="connsiteX2" fmla="*/ 1285713 w 1448552"/>
                  <a:gd name="connsiteY2" fmla="*/ 2263886 h 2758568"/>
                  <a:gd name="connsiteX3" fmla="*/ 636796 w 1448552"/>
                  <a:gd name="connsiteY3" fmla="*/ 2758568 h 2758568"/>
                  <a:gd name="connsiteX4" fmla="*/ 0 w 1448552"/>
                  <a:gd name="connsiteY4" fmla="*/ 2476839 h 2758568"/>
                  <a:gd name="connsiteX5" fmla="*/ 273522 w 1448552"/>
                  <a:gd name="connsiteY5" fmla="*/ 1561860 h 2758568"/>
                  <a:gd name="connsiteX6" fmla="*/ 441551 w 1448552"/>
                  <a:gd name="connsiteY6" fmla="*/ 1457362 h 2758568"/>
                  <a:gd name="connsiteX7" fmla="*/ 1107089 w 1448552"/>
                  <a:gd name="connsiteY7" fmla="*/ 658394 h 2758568"/>
                  <a:gd name="connsiteX8" fmla="*/ 1066122 w 1448552"/>
                  <a:gd name="connsiteY8" fmla="*/ 208741 h 2758568"/>
                  <a:gd name="connsiteX9" fmla="*/ 616470 w 1448552"/>
                  <a:gd name="connsiteY9" fmla="*/ 249709 h 2758568"/>
                  <a:gd name="connsiteX10" fmla="*/ 484388 w 1448552"/>
                  <a:gd name="connsiteY10" fmla="*/ 408272 h 2758568"/>
                  <a:gd name="connsiteX11" fmla="*/ 938983 w 1448552"/>
                  <a:gd name="connsiteY11" fmla="*/ 0 h 2758568"/>
                  <a:gd name="connsiteX12" fmla="*/ 1181770 w 1448552"/>
                  <a:gd name="connsiteY12" fmla="*/ 43778 h 2758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48552" h="2758568">
                    <a:moveTo>
                      <a:pt x="1181770" y="43778"/>
                    </a:moveTo>
                    <a:cubicBezTo>
                      <a:pt x="1293104" y="99051"/>
                      <a:pt x="1365661" y="216966"/>
                      <a:pt x="1401779" y="452787"/>
                    </a:cubicBezTo>
                    <a:cubicBezTo>
                      <a:pt x="1459567" y="830101"/>
                      <a:pt x="1502295" y="1826618"/>
                      <a:pt x="1285713" y="2263886"/>
                    </a:cubicBezTo>
                    <a:cubicBezTo>
                      <a:pt x="1106002" y="2626713"/>
                      <a:pt x="876638" y="2711433"/>
                      <a:pt x="636796" y="2758568"/>
                    </a:cubicBezTo>
                    <a:cubicBezTo>
                      <a:pt x="382862" y="2758568"/>
                      <a:pt x="0" y="2730773"/>
                      <a:pt x="0" y="2476839"/>
                    </a:cubicBezTo>
                    <a:cubicBezTo>
                      <a:pt x="87186" y="2197409"/>
                      <a:pt x="169693" y="1920848"/>
                      <a:pt x="273522" y="1561860"/>
                    </a:cubicBezTo>
                    <a:cubicBezTo>
                      <a:pt x="337243" y="1546927"/>
                      <a:pt x="396458" y="1511495"/>
                      <a:pt x="441551" y="1457362"/>
                    </a:cubicBezTo>
                    <a:lnTo>
                      <a:pt x="1107089" y="658394"/>
                    </a:lnTo>
                    <a:cubicBezTo>
                      <a:pt x="1219944" y="522913"/>
                      <a:pt x="1201602" y="321596"/>
                      <a:pt x="1066122" y="208741"/>
                    </a:cubicBezTo>
                    <a:cubicBezTo>
                      <a:pt x="930641" y="95887"/>
                      <a:pt x="729324" y="114228"/>
                      <a:pt x="616470" y="249709"/>
                    </a:cubicBezTo>
                    <a:lnTo>
                      <a:pt x="484388" y="408272"/>
                    </a:lnTo>
                    <a:cubicBezTo>
                      <a:pt x="507803" y="178453"/>
                      <a:pt x="702553" y="0"/>
                      <a:pt x="938983" y="0"/>
                    </a:cubicBezTo>
                    <a:cubicBezTo>
                      <a:pt x="1034209" y="0"/>
                      <a:pt x="1114969" y="10613"/>
                      <a:pt x="1181770" y="43778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algn="ctr">
                  <a:defRPr/>
                </a:pPr>
                <a:endParaRPr lang="en-US" kern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0" name="Freeform 119"/>
              <p:cNvSpPr/>
              <p:nvPr/>
            </p:nvSpPr>
            <p:spPr bwMode="gray">
              <a:xfrm>
                <a:off x="-4513005" y="3212871"/>
                <a:ext cx="684750" cy="778932"/>
              </a:xfrm>
              <a:custGeom>
                <a:avLst/>
                <a:gdLst>
                  <a:gd name="connsiteX0" fmla="*/ 101600 w 1917700"/>
                  <a:gd name="connsiteY0" fmla="*/ 330200 h 1987550"/>
                  <a:gd name="connsiteX1" fmla="*/ 0 w 1917700"/>
                  <a:gd name="connsiteY1" fmla="*/ 1428750 h 1987550"/>
                  <a:gd name="connsiteX2" fmla="*/ 768350 w 1917700"/>
                  <a:gd name="connsiteY2" fmla="*/ 1987550 h 1987550"/>
                  <a:gd name="connsiteX3" fmla="*/ 1917700 w 1917700"/>
                  <a:gd name="connsiteY3" fmla="*/ 1758950 h 1987550"/>
                  <a:gd name="connsiteX4" fmla="*/ 1708150 w 1917700"/>
                  <a:gd name="connsiteY4" fmla="*/ 1174750 h 1987550"/>
                  <a:gd name="connsiteX5" fmla="*/ 742950 w 1917700"/>
                  <a:gd name="connsiteY5" fmla="*/ 1276350 h 1987550"/>
                  <a:gd name="connsiteX6" fmla="*/ 946150 w 1917700"/>
                  <a:gd name="connsiteY6" fmla="*/ 0 h 1987550"/>
                  <a:gd name="connsiteX7" fmla="*/ 171450 w 1917700"/>
                  <a:gd name="connsiteY7" fmla="*/ 387350 h 1987550"/>
                  <a:gd name="connsiteX8" fmla="*/ 107950 w 1917700"/>
                  <a:gd name="connsiteY8" fmla="*/ 444500 h 1987550"/>
                  <a:gd name="connsiteX9" fmla="*/ 101600 w 1917700"/>
                  <a:gd name="connsiteY9" fmla="*/ 495300 h 1987550"/>
                  <a:gd name="connsiteX10" fmla="*/ 88900 w 1917700"/>
                  <a:gd name="connsiteY10" fmla="*/ 476250 h 1987550"/>
                  <a:gd name="connsiteX0" fmla="*/ 101600 w 1917700"/>
                  <a:gd name="connsiteY0" fmla="*/ 330200 h 1987550"/>
                  <a:gd name="connsiteX1" fmla="*/ 0 w 1917700"/>
                  <a:gd name="connsiteY1" fmla="*/ 1428750 h 1987550"/>
                  <a:gd name="connsiteX2" fmla="*/ 768350 w 1917700"/>
                  <a:gd name="connsiteY2" fmla="*/ 1987550 h 1987550"/>
                  <a:gd name="connsiteX3" fmla="*/ 1917700 w 1917700"/>
                  <a:gd name="connsiteY3" fmla="*/ 1758950 h 1987550"/>
                  <a:gd name="connsiteX4" fmla="*/ 1708150 w 1917700"/>
                  <a:gd name="connsiteY4" fmla="*/ 1174750 h 1987550"/>
                  <a:gd name="connsiteX5" fmla="*/ 742950 w 1917700"/>
                  <a:gd name="connsiteY5" fmla="*/ 1276350 h 1987550"/>
                  <a:gd name="connsiteX6" fmla="*/ 946150 w 1917700"/>
                  <a:gd name="connsiteY6" fmla="*/ 0 h 1987550"/>
                  <a:gd name="connsiteX7" fmla="*/ 171450 w 1917700"/>
                  <a:gd name="connsiteY7" fmla="*/ 387350 h 1987550"/>
                  <a:gd name="connsiteX8" fmla="*/ 107950 w 1917700"/>
                  <a:gd name="connsiteY8" fmla="*/ 444500 h 1987550"/>
                  <a:gd name="connsiteX9" fmla="*/ 101600 w 1917700"/>
                  <a:gd name="connsiteY9" fmla="*/ 495300 h 1987550"/>
                  <a:gd name="connsiteX10" fmla="*/ 88900 w 1917700"/>
                  <a:gd name="connsiteY10" fmla="*/ 476250 h 1987550"/>
                  <a:gd name="connsiteX11" fmla="*/ 101600 w 1917700"/>
                  <a:gd name="connsiteY11" fmla="*/ 330200 h 1987550"/>
                  <a:gd name="connsiteX0" fmla="*/ 101600 w 1917700"/>
                  <a:gd name="connsiteY0" fmla="*/ 330200 h 1987550"/>
                  <a:gd name="connsiteX1" fmla="*/ 0 w 1917700"/>
                  <a:gd name="connsiteY1" fmla="*/ 1428750 h 1987550"/>
                  <a:gd name="connsiteX2" fmla="*/ 768350 w 1917700"/>
                  <a:gd name="connsiteY2" fmla="*/ 1987550 h 1987550"/>
                  <a:gd name="connsiteX3" fmla="*/ 1917700 w 1917700"/>
                  <a:gd name="connsiteY3" fmla="*/ 1758950 h 1987550"/>
                  <a:gd name="connsiteX4" fmla="*/ 1708150 w 1917700"/>
                  <a:gd name="connsiteY4" fmla="*/ 1174750 h 1987550"/>
                  <a:gd name="connsiteX5" fmla="*/ 742950 w 1917700"/>
                  <a:gd name="connsiteY5" fmla="*/ 1276350 h 1987550"/>
                  <a:gd name="connsiteX6" fmla="*/ 946150 w 1917700"/>
                  <a:gd name="connsiteY6" fmla="*/ 0 h 1987550"/>
                  <a:gd name="connsiteX7" fmla="*/ 171450 w 1917700"/>
                  <a:gd name="connsiteY7" fmla="*/ 387350 h 1987550"/>
                  <a:gd name="connsiteX8" fmla="*/ 107950 w 1917700"/>
                  <a:gd name="connsiteY8" fmla="*/ 444500 h 1987550"/>
                  <a:gd name="connsiteX9" fmla="*/ 101600 w 1917700"/>
                  <a:gd name="connsiteY9" fmla="*/ 495300 h 1987550"/>
                  <a:gd name="connsiteX10" fmla="*/ 88900 w 1917700"/>
                  <a:gd name="connsiteY10" fmla="*/ 476250 h 1987550"/>
                  <a:gd name="connsiteX11" fmla="*/ 101600 w 1917700"/>
                  <a:gd name="connsiteY11" fmla="*/ 330200 h 1987550"/>
                  <a:gd name="connsiteX0" fmla="*/ 101600 w 1917700"/>
                  <a:gd name="connsiteY0" fmla="*/ 330200 h 1987550"/>
                  <a:gd name="connsiteX1" fmla="*/ 0 w 1917700"/>
                  <a:gd name="connsiteY1" fmla="*/ 1428750 h 1987550"/>
                  <a:gd name="connsiteX2" fmla="*/ 768350 w 1917700"/>
                  <a:gd name="connsiteY2" fmla="*/ 1987550 h 1987550"/>
                  <a:gd name="connsiteX3" fmla="*/ 1917700 w 1917700"/>
                  <a:gd name="connsiteY3" fmla="*/ 1758950 h 1987550"/>
                  <a:gd name="connsiteX4" fmla="*/ 1708150 w 1917700"/>
                  <a:gd name="connsiteY4" fmla="*/ 1174750 h 1987550"/>
                  <a:gd name="connsiteX5" fmla="*/ 742950 w 1917700"/>
                  <a:gd name="connsiteY5" fmla="*/ 1276350 h 1987550"/>
                  <a:gd name="connsiteX6" fmla="*/ 946150 w 1917700"/>
                  <a:gd name="connsiteY6" fmla="*/ 0 h 1987550"/>
                  <a:gd name="connsiteX7" fmla="*/ 171450 w 1917700"/>
                  <a:gd name="connsiteY7" fmla="*/ 387350 h 1987550"/>
                  <a:gd name="connsiteX8" fmla="*/ 107950 w 1917700"/>
                  <a:gd name="connsiteY8" fmla="*/ 444500 h 1987550"/>
                  <a:gd name="connsiteX9" fmla="*/ 101600 w 1917700"/>
                  <a:gd name="connsiteY9" fmla="*/ 495300 h 1987550"/>
                  <a:gd name="connsiteX10" fmla="*/ 88900 w 1917700"/>
                  <a:gd name="connsiteY10" fmla="*/ 476250 h 1987550"/>
                  <a:gd name="connsiteX11" fmla="*/ 101600 w 1917700"/>
                  <a:gd name="connsiteY11" fmla="*/ 330200 h 1987550"/>
                  <a:gd name="connsiteX0" fmla="*/ 101600 w 1917700"/>
                  <a:gd name="connsiteY0" fmla="*/ 330200 h 1995619"/>
                  <a:gd name="connsiteX1" fmla="*/ 0 w 1917700"/>
                  <a:gd name="connsiteY1" fmla="*/ 1428750 h 1995619"/>
                  <a:gd name="connsiteX2" fmla="*/ 768350 w 1917700"/>
                  <a:gd name="connsiteY2" fmla="*/ 1987550 h 1995619"/>
                  <a:gd name="connsiteX3" fmla="*/ 1917700 w 1917700"/>
                  <a:gd name="connsiteY3" fmla="*/ 1758950 h 1995619"/>
                  <a:gd name="connsiteX4" fmla="*/ 1708150 w 1917700"/>
                  <a:gd name="connsiteY4" fmla="*/ 1174750 h 1995619"/>
                  <a:gd name="connsiteX5" fmla="*/ 742950 w 1917700"/>
                  <a:gd name="connsiteY5" fmla="*/ 1276350 h 1995619"/>
                  <a:gd name="connsiteX6" fmla="*/ 946150 w 1917700"/>
                  <a:gd name="connsiteY6" fmla="*/ 0 h 1995619"/>
                  <a:gd name="connsiteX7" fmla="*/ 171450 w 1917700"/>
                  <a:gd name="connsiteY7" fmla="*/ 387350 h 1995619"/>
                  <a:gd name="connsiteX8" fmla="*/ 107950 w 1917700"/>
                  <a:gd name="connsiteY8" fmla="*/ 444500 h 1995619"/>
                  <a:gd name="connsiteX9" fmla="*/ 101600 w 1917700"/>
                  <a:gd name="connsiteY9" fmla="*/ 495300 h 1995619"/>
                  <a:gd name="connsiteX10" fmla="*/ 88900 w 1917700"/>
                  <a:gd name="connsiteY10" fmla="*/ 476250 h 1995619"/>
                  <a:gd name="connsiteX11" fmla="*/ 101600 w 1917700"/>
                  <a:gd name="connsiteY11" fmla="*/ 330200 h 1995619"/>
                  <a:gd name="connsiteX0" fmla="*/ 101600 w 1979002"/>
                  <a:gd name="connsiteY0" fmla="*/ 330200 h 1995619"/>
                  <a:gd name="connsiteX1" fmla="*/ 0 w 1979002"/>
                  <a:gd name="connsiteY1" fmla="*/ 1428750 h 1995619"/>
                  <a:gd name="connsiteX2" fmla="*/ 768350 w 1979002"/>
                  <a:gd name="connsiteY2" fmla="*/ 1987550 h 1995619"/>
                  <a:gd name="connsiteX3" fmla="*/ 1917700 w 1979002"/>
                  <a:gd name="connsiteY3" fmla="*/ 1758950 h 1995619"/>
                  <a:gd name="connsiteX4" fmla="*/ 1708150 w 1979002"/>
                  <a:gd name="connsiteY4" fmla="*/ 1174750 h 1995619"/>
                  <a:gd name="connsiteX5" fmla="*/ 742950 w 1979002"/>
                  <a:gd name="connsiteY5" fmla="*/ 1276350 h 1995619"/>
                  <a:gd name="connsiteX6" fmla="*/ 946150 w 1979002"/>
                  <a:gd name="connsiteY6" fmla="*/ 0 h 1995619"/>
                  <a:gd name="connsiteX7" fmla="*/ 171450 w 1979002"/>
                  <a:gd name="connsiteY7" fmla="*/ 387350 h 1995619"/>
                  <a:gd name="connsiteX8" fmla="*/ 107950 w 1979002"/>
                  <a:gd name="connsiteY8" fmla="*/ 444500 h 1995619"/>
                  <a:gd name="connsiteX9" fmla="*/ 101600 w 1979002"/>
                  <a:gd name="connsiteY9" fmla="*/ 495300 h 1995619"/>
                  <a:gd name="connsiteX10" fmla="*/ 88900 w 1979002"/>
                  <a:gd name="connsiteY10" fmla="*/ 476250 h 1995619"/>
                  <a:gd name="connsiteX11" fmla="*/ 101600 w 1979002"/>
                  <a:gd name="connsiteY11" fmla="*/ 330200 h 1995619"/>
                  <a:gd name="connsiteX0" fmla="*/ 101600 w 2017380"/>
                  <a:gd name="connsiteY0" fmla="*/ 330200 h 1995619"/>
                  <a:gd name="connsiteX1" fmla="*/ 0 w 2017380"/>
                  <a:gd name="connsiteY1" fmla="*/ 1428750 h 1995619"/>
                  <a:gd name="connsiteX2" fmla="*/ 768350 w 2017380"/>
                  <a:gd name="connsiteY2" fmla="*/ 1987550 h 1995619"/>
                  <a:gd name="connsiteX3" fmla="*/ 1917700 w 2017380"/>
                  <a:gd name="connsiteY3" fmla="*/ 1758950 h 1995619"/>
                  <a:gd name="connsiteX4" fmla="*/ 1708150 w 2017380"/>
                  <a:gd name="connsiteY4" fmla="*/ 1174750 h 1995619"/>
                  <a:gd name="connsiteX5" fmla="*/ 742950 w 2017380"/>
                  <a:gd name="connsiteY5" fmla="*/ 1276350 h 1995619"/>
                  <a:gd name="connsiteX6" fmla="*/ 946150 w 2017380"/>
                  <a:gd name="connsiteY6" fmla="*/ 0 h 1995619"/>
                  <a:gd name="connsiteX7" fmla="*/ 171450 w 2017380"/>
                  <a:gd name="connsiteY7" fmla="*/ 387350 h 1995619"/>
                  <a:gd name="connsiteX8" fmla="*/ 107950 w 2017380"/>
                  <a:gd name="connsiteY8" fmla="*/ 444500 h 1995619"/>
                  <a:gd name="connsiteX9" fmla="*/ 101600 w 2017380"/>
                  <a:gd name="connsiteY9" fmla="*/ 495300 h 1995619"/>
                  <a:gd name="connsiteX10" fmla="*/ 88900 w 2017380"/>
                  <a:gd name="connsiteY10" fmla="*/ 476250 h 1995619"/>
                  <a:gd name="connsiteX11" fmla="*/ 101600 w 2017380"/>
                  <a:gd name="connsiteY11" fmla="*/ 330200 h 1995619"/>
                  <a:gd name="connsiteX0" fmla="*/ 101600 w 2036712"/>
                  <a:gd name="connsiteY0" fmla="*/ 330200 h 1995619"/>
                  <a:gd name="connsiteX1" fmla="*/ 0 w 2036712"/>
                  <a:gd name="connsiteY1" fmla="*/ 1428750 h 1995619"/>
                  <a:gd name="connsiteX2" fmla="*/ 768350 w 2036712"/>
                  <a:gd name="connsiteY2" fmla="*/ 1987550 h 1995619"/>
                  <a:gd name="connsiteX3" fmla="*/ 1917700 w 2036712"/>
                  <a:gd name="connsiteY3" fmla="*/ 1758950 h 1995619"/>
                  <a:gd name="connsiteX4" fmla="*/ 1708150 w 2036712"/>
                  <a:gd name="connsiteY4" fmla="*/ 1174750 h 1995619"/>
                  <a:gd name="connsiteX5" fmla="*/ 742950 w 2036712"/>
                  <a:gd name="connsiteY5" fmla="*/ 1276350 h 1995619"/>
                  <a:gd name="connsiteX6" fmla="*/ 946150 w 2036712"/>
                  <a:gd name="connsiteY6" fmla="*/ 0 h 1995619"/>
                  <a:gd name="connsiteX7" fmla="*/ 171450 w 2036712"/>
                  <a:gd name="connsiteY7" fmla="*/ 387350 h 1995619"/>
                  <a:gd name="connsiteX8" fmla="*/ 107950 w 2036712"/>
                  <a:gd name="connsiteY8" fmla="*/ 444500 h 1995619"/>
                  <a:gd name="connsiteX9" fmla="*/ 101600 w 2036712"/>
                  <a:gd name="connsiteY9" fmla="*/ 495300 h 1995619"/>
                  <a:gd name="connsiteX10" fmla="*/ 88900 w 2036712"/>
                  <a:gd name="connsiteY10" fmla="*/ 476250 h 1995619"/>
                  <a:gd name="connsiteX11" fmla="*/ 101600 w 2036712"/>
                  <a:gd name="connsiteY11" fmla="*/ 330200 h 1995619"/>
                  <a:gd name="connsiteX0" fmla="*/ 101600 w 2036712"/>
                  <a:gd name="connsiteY0" fmla="*/ 330200 h 1995619"/>
                  <a:gd name="connsiteX1" fmla="*/ 0 w 2036712"/>
                  <a:gd name="connsiteY1" fmla="*/ 1428750 h 1995619"/>
                  <a:gd name="connsiteX2" fmla="*/ 768350 w 2036712"/>
                  <a:gd name="connsiteY2" fmla="*/ 1987550 h 1995619"/>
                  <a:gd name="connsiteX3" fmla="*/ 1917700 w 2036712"/>
                  <a:gd name="connsiteY3" fmla="*/ 1758950 h 1995619"/>
                  <a:gd name="connsiteX4" fmla="*/ 1708150 w 2036712"/>
                  <a:gd name="connsiteY4" fmla="*/ 1174750 h 1995619"/>
                  <a:gd name="connsiteX5" fmla="*/ 742950 w 2036712"/>
                  <a:gd name="connsiteY5" fmla="*/ 1276350 h 1995619"/>
                  <a:gd name="connsiteX6" fmla="*/ 946150 w 2036712"/>
                  <a:gd name="connsiteY6" fmla="*/ 0 h 1995619"/>
                  <a:gd name="connsiteX7" fmla="*/ 171450 w 2036712"/>
                  <a:gd name="connsiteY7" fmla="*/ 387350 h 1995619"/>
                  <a:gd name="connsiteX8" fmla="*/ 107950 w 2036712"/>
                  <a:gd name="connsiteY8" fmla="*/ 444500 h 1995619"/>
                  <a:gd name="connsiteX9" fmla="*/ 101600 w 2036712"/>
                  <a:gd name="connsiteY9" fmla="*/ 495300 h 1995619"/>
                  <a:gd name="connsiteX10" fmla="*/ 88900 w 2036712"/>
                  <a:gd name="connsiteY10" fmla="*/ 476250 h 1995619"/>
                  <a:gd name="connsiteX11" fmla="*/ 101600 w 2036712"/>
                  <a:gd name="connsiteY11" fmla="*/ 330200 h 1995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36712" h="1995619">
                    <a:moveTo>
                      <a:pt x="101600" y="330200"/>
                    </a:moveTo>
                    <a:lnTo>
                      <a:pt x="0" y="1428750"/>
                    </a:lnTo>
                    <a:cubicBezTo>
                      <a:pt x="85725" y="2003425"/>
                      <a:pt x="601133" y="2015067"/>
                      <a:pt x="768350" y="1987550"/>
                    </a:cubicBezTo>
                    <a:lnTo>
                      <a:pt x="1917700" y="1758950"/>
                    </a:lnTo>
                    <a:cubicBezTo>
                      <a:pt x="2118783" y="1725083"/>
                      <a:pt x="2075392" y="1128183"/>
                      <a:pt x="1708150" y="1174750"/>
                    </a:cubicBezTo>
                    <a:lnTo>
                      <a:pt x="742950" y="1276350"/>
                    </a:lnTo>
                    <a:cubicBezTo>
                      <a:pt x="728133" y="812800"/>
                      <a:pt x="878417" y="425450"/>
                      <a:pt x="946150" y="0"/>
                    </a:cubicBezTo>
                    <a:lnTo>
                      <a:pt x="171450" y="387350"/>
                    </a:lnTo>
                    <a:lnTo>
                      <a:pt x="107950" y="444500"/>
                    </a:lnTo>
                    <a:lnTo>
                      <a:pt x="101600" y="495300"/>
                    </a:lnTo>
                    <a:lnTo>
                      <a:pt x="88900" y="476250"/>
                    </a:lnTo>
                    <a:lnTo>
                      <a:pt x="101600" y="330200"/>
                    </a:lnTo>
                    <a:close/>
                  </a:path>
                </a:pathLst>
              </a:custGeom>
              <a:solidFill>
                <a:sysClr val="window" lastClr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algn="ctr">
                  <a:defRPr/>
                </a:pPr>
                <a:endParaRPr lang="en-US" kern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1" name="Rounded Rectangle 26"/>
              <p:cNvSpPr/>
              <p:nvPr/>
            </p:nvSpPr>
            <p:spPr bwMode="gray">
              <a:xfrm rot="993447">
                <a:off x="-5046392" y="2393070"/>
                <a:ext cx="495872" cy="797917"/>
              </a:xfrm>
              <a:custGeom>
                <a:avLst/>
                <a:gdLst>
                  <a:gd name="connsiteX0" fmla="*/ 1007694 w 1335222"/>
                  <a:gd name="connsiteY0" fmla="*/ 5538 h 2136645"/>
                  <a:gd name="connsiteX1" fmla="*/ 1062631 w 1335222"/>
                  <a:gd name="connsiteY1" fmla="*/ 0 h 2136645"/>
                  <a:gd name="connsiteX2" fmla="*/ 1335222 w 1335222"/>
                  <a:gd name="connsiteY2" fmla="*/ 272591 h 2136645"/>
                  <a:gd name="connsiteX3" fmla="*/ 1335222 w 1335222"/>
                  <a:gd name="connsiteY3" fmla="*/ 1215923 h 2136645"/>
                  <a:gd name="connsiteX4" fmla="*/ 1008824 w 1335222"/>
                  <a:gd name="connsiteY4" fmla="*/ 1483090 h 2136645"/>
                  <a:gd name="connsiteX5" fmla="*/ 470510 w 1335222"/>
                  <a:gd name="connsiteY5" fmla="*/ 2051495 h 2136645"/>
                  <a:gd name="connsiteX6" fmla="*/ 85151 w 1335222"/>
                  <a:gd name="connsiteY6" fmla="*/ 2061972 h 2136645"/>
                  <a:gd name="connsiteX7" fmla="*/ 74673 w 1335222"/>
                  <a:gd name="connsiteY7" fmla="*/ 1676613 h 2136645"/>
                  <a:gd name="connsiteX8" fmla="*/ 723334 w 1335222"/>
                  <a:gd name="connsiteY8" fmla="*/ 991693 h 2136645"/>
                  <a:gd name="connsiteX9" fmla="*/ 790040 w 1335222"/>
                  <a:gd name="connsiteY9" fmla="*/ 941628 h 2136645"/>
                  <a:gd name="connsiteX10" fmla="*/ 790040 w 1335222"/>
                  <a:gd name="connsiteY10" fmla="*/ 272591 h 2136645"/>
                  <a:gd name="connsiteX11" fmla="*/ 1007694 w 1335222"/>
                  <a:gd name="connsiteY11" fmla="*/ 5538 h 2136645"/>
                  <a:gd name="connsiteX0" fmla="*/ 1007694 w 1335222"/>
                  <a:gd name="connsiteY0" fmla="*/ 5538 h 2136645"/>
                  <a:gd name="connsiteX1" fmla="*/ 1062631 w 1335222"/>
                  <a:gd name="connsiteY1" fmla="*/ 0 h 2136645"/>
                  <a:gd name="connsiteX2" fmla="*/ 1335222 w 1335222"/>
                  <a:gd name="connsiteY2" fmla="*/ 272591 h 2136645"/>
                  <a:gd name="connsiteX3" fmla="*/ 1335222 w 1335222"/>
                  <a:gd name="connsiteY3" fmla="*/ 1215923 h 2136645"/>
                  <a:gd name="connsiteX4" fmla="*/ 1040667 w 1335222"/>
                  <a:gd name="connsiteY4" fmla="*/ 1463287 h 2136645"/>
                  <a:gd name="connsiteX5" fmla="*/ 1008824 w 1335222"/>
                  <a:gd name="connsiteY5" fmla="*/ 1483090 h 2136645"/>
                  <a:gd name="connsiteX6" fmla="*/ 470510 w 1335222"/>
                  <a:gd name="connsiteY6" fmla="*/ 2051495 h 2136645"/>
                  <a:gd name="connsiteX7" fmla="*/ 85151 w 1335222"/>
                  <a:gd name="connsiteY7" fmla="*/ 2061972 h 2136645"/>
                  <a:gd name="connsiteX8" fmla="*/ 74673 w 1335222"/>
                  <a:gd name="connsiteY8" fmla="*/ 1676613 h 2136645"/>
                  <a:gd name="connsiteX9" fmla="*/ 723334 w 1335222"/>
                  <a:gd name="connsiteY9" fmla="*/ 991693 h 2136645"/>
                  <a:gd name="connsiteX10" fmla="*/ 790040 w 1335222"/>
                  <a:gd name="connsiteY10" fmla="*/ 941628 h 2136645"/>
                  <a:gd name="connsiteX11" fmla="*/ 790040 w 1335222"/>
                  <a:gd name="connsiteY11" fmla="*/ 272591 h 2136645"/>
                  <a:gd name="connsiteX12" fmla="*/ 1007694 w 1335222"/>
                  <a:gd name="connsiteY12" fmla="*/ 5538 h 2136645"/>
                  <a:gd name="connsiteX0" fmla="*/ 1007694 w 1335222"/>
                  <a:gd name="connsiteY0" fmla="*/ 5538 h 2133252"/>
                  <a:gd name="connsiteX1" fmla="*/ 1062631 w 1335222"/>
                  <a:gd name="connsiteY1" fmla="*/ 0 h 2133252"/>
                  <a:gd name="connsiteX2" fmla="*/ 1335222 w 1335222"/>
                  <a:gd name="connsiteY2" fmla="*/ 272591 h 2133252"/>
                  <a:gd name="connsiteX3" fmla="*/ 1335222 w 1335222"/>
                  <a:gd name="connsiteY3" fmla="*/ 1215923 h 2133252"/>
                  <a:gd name="connsiteX4" fmla="*/ 1040667 w 1335222"/>
                  <a:gd name="connsiteY4" fmla="*/ 1463287 h 2133252"/>
                  <a:gd name="connsiteX5" fmla="*/ 470510 w 1335222"/>
                  <a:gd name="connsiteY5" fmla="*/ 2051495 h 2133252"/>
                  <a:gd name="connsiteX6" fmla="*/ 85151 w 1335222"/>
                  <a:gd name="connsiteY6" fmla="*/ 2061972 h 2133252"/>
                  <a:gd name="connsiteX7" fmla="*/ 74673 w 1335222"/>
                  <a:gd name="connsiteY7" fmla="*/ 1676613 h 2133252"/>
                  <a:gd name="connsiteX8" fmla="*/ 723334 w 1335222"/>
                  <a:gd name="connsiteY8" fmla="*/ 991693 h 2133252"/>
                  <a:gd name="connsiteX9" fmla="*/ 790040 w 1335222"/>
                  <a:gd name="connsiteY9" fmla="*/ 941628 h 2133252"/>
                  <a:gd name="connsiteX10" fmla="*/ 790040 w 1335222"/>
                  <a:gd name="connsiteY10" fmla="*/ 272591 h 2133252"/>
                  <a:gd name="connsiteX11" fmla="*/ 1007694 w 1335222"/>
                  <a:gd name="connsiteY11" fmla="*/ 5538 h 2133252"/>
                  <a:gd name="connsiteX0" fmla="*/ 1007694 w 1335222"/>
                  <a:gd name="connsiteY0" fmla="*/ 5538 h 2148536"/>
                  <a:gd name="connsiteX1" fmla="*/ 1062631 w 1335222"/>
                  <a:gd name="connsiteY1" fmla="*/ 0 h 2148536"/>
                  <a:gd name="connsiteX2" fmla="*/ 1335222 w 1335222"/>
                  <a:gd name="connsiteY2" fmla="*/ 272591 h 2148536"/>
                  <a:gd name="connsiteX3" fmla="*/ 1335222 w 1335222"/>
                  <a:gd name="connsiteY3" fmla="*/ 1215923 h 2148536"/>
                  <a:gd name="connsiteX4" fmla="*/ 470510 w 1335222"/>
                  <a:gd name="connsiteY4" fmla="*/ 2051495 h 2148536"/>
                  <a:gd name="connsiteX5" fmla="*/ 85151 w 1335222"/>
                  <a:gd name="connsiteY5" fmla="*/ 2061972 h 2148536"/>
                  <a:gd name="connsiteX6" fmla="*/ 74673 w 1335222"/>
                  <a:gd name="connsiteY6" fmla="*/ 1676613 h 2148536"/>
                  <a:gd name="connsiteX7" fmla="*/ 723334 w 1335222"/>
                  <a:gd name="connsiteY7" fmla="*/ 991693 h 2148536"/>
                  <a:gd name="connsiteX8" fmla="*/ 790040 w 1335222"/>
                  <a:gd name="connsiteY8" fmla="*/ 941628 h 2148536"/>
                  <a:gd name="connsiteX9" fmla="*/ 790040 w 1335222"/>
                  <a:gd name="connsiteY9" fmla="*/ 272591 h 2148536"/>
                  <a:gd name="connsiteX10" fmla="*/ 1007694 w 1335222"/>
                  <a:gd name="connsiteY10" fmla="*/ 5538 h 2148536"/>
                  <a:gd name="connsiteX0" fmla="*/ 1007694 w 1335222"/>
                  <a:gd name="connsiteY0" fmla="*/ 5538 h 2148536"/>
                  <a:gd name="connsiteX1" fmla="*/ 1062631 w 1335222"/>
                  <a:gd name="connsiteY1" fmla="*/ 0 h 2148536"/>
                  <a:gd name="connsiteX2" fmla="*/ 1335222 w 1335222"/>
                  <a:gd name="connsiteY2" fmla="*/ 272591 h 2148536"/>
                  <a:gd name="connsiteX3" fmla="*/ 1335222 w 1335222"/>
                  <a:gd name="connsiteY3" fmla="*/ 1215923 h 2148536"/>
                  <a:gd name="connsiteX4" fmla="*/ 470510 w 1335222"/>
                  <a:gd name="connsiteY4" fmla="*/ 2051495 h 2148536"/>
                  <a:gd name="connsiteX5" fmla="*/ 85151 w 1335222"/>
                  <a:gd name="connsiteY5" fmla="*/ 2061972 h 2148536"/>
                  <a:gd name="connsiteX6" fmla="*/ 74673 w 1335222"/>
                  <a:gd name="connsiteY6" fmla="*/ 1676613 h 2148536"/>
                  <a:gd name="connsiteX7" fmla="*/ 723334 w 1335222"/>
                  <a:gd name="connsiteY7" fmla="*/ 991693 h 2148536"/>
                  <a:gd name="connsiteX8" fmla="*/ 790040 w 1335222"/>
                  <a:gd name="connsiteY8" fmla="*/ 941628 h 2148536"/>
                  <a:gd name="connsiteX9" fmla="*/ 790040 w 1335222"/>
                  <a:gd name="connsiteY9" fmla="*/ 272591 h 2148536"/>
                  <a:gd name="connsiteX10" fmla="*/ 1007694 w 1335222"/>
                  <a:gd name="connsiteY10" fmla="*/ 5538 h 2148536"/>
                  <a:gd name="connsiteX0" fmla="*/ 1007694 w 1335222"/>
                  <a:gd name="connsiteY0" fmla="*/ 5538 h 2148536"/>
                  <a:gd name="connsiteX1" fmla="*/ 1062631 w 1335222"/>
                  <a:gd name="connsiteY1" fmla="*/ 0 h 2148536"/>
                  <a:gd name="connsiteX2" fmla="*/ 1335222 w 1335222"/>
                  <a:gd name="connsiteY2" fmla="*/ 272591 h 2148536"/>
                  <a:gd name="connsiteX3" fmla="*/ 1335222 w 1335222"/>
                  <a:gd name="connsiteY3" fmla="*/ 1215923 h 2148536"/>
                  <a:gd name="connsiteX4" fmla="*/ 470510 w 1335222"/>
                  <a:gd name="connsiteY4" fmla="*/ 2051495 h 2148536"/>
                  <a:gd name="connsiteX5" fmla="*/ 85151 w 1335222"/>
                  <a:gd name="connsiteY5" fmla="*/ 2061972 h 2148536"/>
                  <a:gd name="connsiteX6" fmla="*/ 74673 w 1335222"/>
                  <a:gd name="connsiteY6" fmla="*/ 1676613 h 2148536"/>
                  <a:gd name="connsiteX7" fmla="*/ 723334 w 1335222"/>
                  <a:gd name="connsiteY7" fmla="*/ 991693 h 2148536"/>
                  <a:gd name="connsiteX8" fmla="*/ 790040 w 1335222"/>
                  <a:gd name="connsiteY8" fmla="*/ 941628 h 2148536"/>
                  <a:gd name="connsiteX9" fmla="*/ 790040 w 1335222"/>
                  <a:gd name="connsiteY9" fmla="*/ 272591 h 2148536"/>
                  <a:gd name="connsiteX10" fmla="*/ 1007694 w 1335222"/>
                  <a:gd name="connsiteY10" fmla="*/ 5538 h 2148536"/>
                  <a:gd name="connsiteX0" fmla="*/ 1007694 w 1335222"/>
                  <a:gd name="connsiteY0" fmla="*/ 5538 h 2148536"/>
                  <a:gd name="connsiteX1" fmla="*/ 1062631 w 1335222"/>
                  <a:gd name="connsiteY1" fmla="*/ 0 h 2148536"/>
                  <a:gd name="connsiteX2" fmla="*/ 1335222 w 1335222"/>
                  <a:gd name="connsiteY2" fmla="*/ 272591 h 2148536"/>
                  <a:gd name="connsiteX3" fmla="*/ 1335222 w 1335222"/>
                  <a:gd name="connsiteY3" fmla="*/ 1215923 h 2148536"/>
                  <a:gd name="connsiteX4" fmla="*/ 470510 w 1335222"/>
                  <a:gd name="connsiteY4" fmla="*/ 2051495 h 2148536"/>
                  <a:gd name="connsiteX5" fmla="*/ 85151 w 1335222"/>
                  <a:gd name="connsiteY5" fmla="*/ 2061972 h 2148536"/>
                  <a:gd name="connsiteX6" fmla="*/ 74673 w 1335222"/>
                  <a:gd name="connsiteY6" fmla="*/ 1676613 h 2148536"/>
                  <a:gd name="connsiteX7" fmla="*/ 790040 w 1335222"/>
                  <a:gd name="connsiteY7" fmla="*/ 941628 h 2148536"/>
                  <a:gd name="connsiteX8" fmla="*/ 790040 w 1335222"/>
                  <a:gd name="connsiteY8" fmla="*/ 272591 h 2148536"/>
                  <a:gd name="connsiteX9" fmla="*/ 1007694 w 1335222"/>
                  <a:gd name="connsiteY9" fmla="*/ 5538 h 2148536"/>
                  <a:gd name="connsiteX0" fmla="*/ 1007694 w 1335222"/>
                  <a:gd name="connsiteY0" fmla="*/ 5538 h 2148536"/>
                  <a:gd name="connsiteX1" fmla="*/ 1062631 w 1335222"/>
                  <a:gd name="connsiteY1" fmla="*/ 0 h 2148536"/>
                  <a:gd name="connsiteX2" fmla="*/ 1335222 w 1335222"/>
                  <a:gd name="connsiteY2" fmla="*/ 272591 h 2148536"/>
                  <a:gd name="connsiteX3" fmla="*/ 1335222 w 1335222"/>
                  <a:gd name="connsiteY3" fmla="*/ 1215923 h 2148536"/>
                  <a:gd name="connsiteX4" fmla="*/ 470510 w 1335222"/>
                  <a:gd name="connsiteY4" fmla="*/ 2051495 h 2148536"/>
                  <a:gd name="connsiteX5" fmla="*/ 85151 w 1335222"/>
                  <a:gd name="connsiteY5" fmla="*/ 2061972 h 2148536"/>
                  <a:gd name="connsiteX6" fmla="*/ 74673 w 1335222"/>
                  <a:gd name="connsiteY6" fmla="*/ 1676613 h 2148536"/>
                  <a:gd name="connsiteX7" fmla="*/ 790040 w 1335222"/>
                  <a:gd name="connsiteY7" fmla="*/ 941628 h 2148536"/>
                  <a:gd name="connsiteX8" fmla="*/ 790040 w 1335222"/>
                  <a:gd name="connsiteY8" fmla="*/ 272591 h 2148536"/>
                  <a:gd name="connsiteX9" fmla="*/ 1007694 w 1335222"/>
                  <a:gd name="connsiteY9" fmla="*/ 5538 h 21485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35222" h="2148536">
                    <a:moveTo>
                      <a:pt x="1007694" y="5538"/>
                    </a:moveTo>
                    <a:cubicBezTo>
                      <a:pt x="1025439" y="1907"/>
                      <a:pt x="1043813" y="0"/>
                      <a:pt x="1062631" y="0"/>
                    </a:cubicBezTo>
                    <a:cubicBezTo>
                      <a:pt x="1213179" y="0"/>
                      <a:pt x="1335222" y="122043"/>
                      <a:pt x="1335222" y="272591"/>
                    </a:cubicBezTo>
                    <a:lnTo>
                      <a:pt x="1335222" y="1215923"/>
                    </a:lnTo>
                    <a:cubicBezTo>
                      <a:pt x="1314306" y="1368599"/>
                      <a:pt x="758747" y="1772971"/>
                      <a:pt x="470510" y="2051495"/>
                    </a:cubicBezTo>
                    <a:cubicBezTo>
                      <a:pt x="262165" y="2192503"/>
                      <a:pt x="194458" y="2165493"/>
                      <a:pt x="85151" y="2061972"/>
                    </a:cubicBezTo>
                    <a:cubicBezTo>
                      <a:pt x="-24157" y="1958451"/>
                      <a:pt x="-28848" y="1785920"/>
                      <a:pt x="74673" y="1676613"/>
                    </a:cubicBezTo>
                    <a:cubicBezTo>
                      <a:pt x="313129" y="1431618"/>
                      <a:pt x="603075" y="1270685"/>
                      <a:pt x="790040" y="941628"/>
                    </a:cubicBezTo>
                    <a:lnTo>
                      <a:pt x="790040" y="272591"/>
                    </a:lnTo>
                    <a:cubicBezTo>
                      <a:pt x="790040" y="140862"/>
                      <a:pt x="883479" y="30956"/>
                      <a:pt x="1007694" y="5538"/>
                    </a:cubicBezTo>
                    <a:close/>
                  </a:path>
                </a:pathLst>
              </a:custGeom>
              <a:solidFill>
                <a:sysClr val="window" lastClr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>
                <a:noAutofit/>
              </a:bodyPr>
              <a:lstStyle/>
              <a:p>
                <a:pPr algn="ctr">
                  <a:defRPr/>
                </a:pPr>
                <a:endParaRPr lang="en-US" kern="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27" name="Rectangle 20"/>
          <p:cNvSpPr txBox="1">
            <a:spLocks/>
          </p:cNvSpPr>
          <p:nvPr/>
        </p:nvSpPr>
        <p:spPr bwMode="gray">
          <a:xfrm>
            <a:off x="6004918" y="1066800"/>
            <a:ext cx="2920422" cy="1800493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lvl="4" indent="-130175" algn="r" defTabSz="895350">
              <a:buClr>
                <a:schemeClr val="tx2"/>
              </a:buClr>
              <a:buSzPct val="89000"/>
              <a:buFont typeface="Arial" pitchFamily="34" charset="0"/>
              <a:defRPr sz="700" i="1">
                <a:solidFill>
                  <a:schemeClr val="tx1"/>
                </a:solidFill>
                <a:latin typeface="+mn-lt"/>
              </a:defRPr>
            </a:lvl5pPr>
            <a:lvl6pPr marL="12033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defRPr sz="700" i="1">
                <a:solidFill>
                  <a:schemeClr val="tx1"/>
                </a:solidFill>
                <a:latin typeface="+mn-lt"/>
              </a:defRPr>
            </a:lvl6pPr>
            <a:lvl7pPr marL="16605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defRPr sz="700" i="1">
                <a:solidFill>
                  <a:schemeClr val="tx1"/>
                </a:solidFill>
                <a:latin typeface="+mn-lt"/>
              </a:defRPr>
            </a:lvl7pPr>
            <a:lvl8pPr marL="21177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defRPr sz="700" i="1">
                <a:solidFill>
                  <a:schemeClr val="tx1"/>
                </a:solidFill>
                <a:latin typeface="+mn-lt"/>
              </a:defRPr>
            </a:lvl8pPr>
            <a:lvl9pPr marL="25749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defRPr sz="700" i="1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ct val="20000"/>
              </a:spcBef>
              <a:buClr>
                <a:srgbClr val="7C2529"/>
              </a:buClr>
              <a:buFont typeface="Arial" pitchFamily="34" charset="0"/>
              <a:buChar char="•"/>
              <a:defRPr/>
            </a:pPr>
            <a:r>
              <a:rPr lang="en-US" sz="1500" kern="0" dirty="0" smtClean="0">
                <a:solidFill>
                  <a:srgbClr val="666666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revention</a:t>
            </a:r>
          </a:p>
          <a:p>
            <a:pPr lvl="1">
              <a:spcBef>
                <a:spcPct val="20000"/>
              </a:spcBef>
              <a:buClr>
                <a:srgbClr val="7C2529"/>
              </a:buClr>
              <a:buFont typeface="Arial" pitchFamily="34" charset="0"/>
              <a:buChar char="•"/>
              <a:defRPr/>
            </a:pPr>
            <a:r>
              <a:rPr lang="en-US" sz="1500" kern="0" dirty="0" smtClean="0">
                <a:solidFill>
                  <a:srgbClr val="666666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Maintaining health</a:t>
            </a:r>
          </a:p>
          <a:p>
            <a:pPr lvl="1">
              <a:spcBef>
                <a:spcPct val="20000"/>
              </a:spcBef>
              <a:buClr>
                <a:srgbClr val="7C2529"/>
              </a:buClr>
              <a:buFont typeface="Arial" pitchFamily="34" charset="0"/>
              <a:buChar char="•"/>
              <a:defRPr/>
            </a:pPr>
            <a:r>
              <a:rPr lang="en-US" sz="1500" kern="0" dirty="0" smtClean="0">
                <a:solidFill>
                  <a:srgbClr val="666666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oordinating specialists</a:t>
            </a:r>
          </a:p>
          <a:p>
            <a:pPr lvl="1">
              <a:spcBef>
                <a:spcPct val="20000"/>
              </a:spcBef>
              <a:buClr>
                <a:srgbClr val="7C2529"/>
              </a:buClr>
              <a:buFont typeface="Arial" pitchFamily="34" charset="0"/>
              <a:buChar char="•"/>
              <a:defRPr/>
            </a:pPr>
            <a:r>
              <a:rPr lang="en-US" sz="1500" kern="0" dirty="0" smtClean="0">
                <a:solidFill>
                  <a:srgbClr val="666666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voiding preventable episodes of care</a:t>
            </a:r>
          </a:p>
          <a:p>
            <a:pPr lvl="1">
              <a:spcBef>
                <a:spcPct val="20000"/>
              </a:spcBef>
              <a:buClr>
                <a:srgbClr val="7C2529"/>
              </a:buClr>
              <a:buFont typeface="Arial" pitchFamily="34" charset="0"/>
              <a:buChar char="•"/>
              <a:defRPr/>
            </a:pPr>
            <a:r>
              <a:rPr lang="en-US" sz="1500" kern="0" dirty="0" smtClean="0">
                <a:solidFill>
                  <a:srgbClr val="666666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onnecting behavioral and primary care</a:t>
            </a:r>
          </a:p>
        </p:txBody>
      </p:sp>
      <p:sp>
        <p:nvSpPr>
          <p:cNvPr id="129" name="Rectangle 24"/>
          <p:cNvSpPr txBox="1">
            <a:spLocks/>
          </p:cNvSpPr>
          <p:nvPr/>
        </p:nvSpPr>
        <p:spPr bwMode="gray">
          <a:xfrm>
            <a:off x="6004918" y="2971800"/>
            <a:ext cx="2920422" cy="1615827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lvl="4" indent="-130175" algn="r" defTabSz="895350">
              <a:buClr>
                <a:schemeClr val="tx2"/>
              </a:buClr>
              <a:buSzPct val="89000"/>
              <a:buFont typeface="Arial" pitchFamily="34" charset="0"/>
              <a:defRPr sz="700" i="1">
                <a:solidFill>
                  <a:schemeClr val="tx1"/>
                </a:solidFill>
                <a:latin typeface="+mn-lt"/>
              </a:defRPr>
            </a:lvl5pPr>
            <a:lvl6pPr marL="12033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defRPr sz="700" i="1">
                <a:solidFill>
                  <a:schemeClr val="tx1"/>
                </a:solidFill>
                <a:latin typeface="+mn-lt"/>
              </a:defRPr>
            </a:lvl6pPr>
            <a:lvl7pPr marL="16605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defRPr sz="700" i="1">
                <a:solidFill>
                  <a:schemeClr val="tx1"/>
                </a:solidFill>
                <a:latin typeface="+mn-lt"/>
              </a:defRPr>
            </a:lvl7pPr>
            <a:lvl8pPr marL="21177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defRPr sz="700" i="1">
                <a:solidFill>
                  <a:schemeClr val="tx1"/>
                </a:solidFill>
                <a:latin typeface="+mn-lt"/>
              </a:defRPr>
            </a:lvl8pPr>
            <a:lvl9pPr marL="25749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defRPr sz="700" i="1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ct val="20000"/>
              </a:spcBef>
              <a:buClr>
                <a:srgbClr val="7C2529"/>
              </a:buClr>
              <a:buFont typeface="Arial" pitchFamily="34" charset="0"/>
              <a:buChar char="•"/>
              <a:defRPr/>
            </a:pPr>
            <a:r>
              <a:rPr lang="en-US" sz="1500" kern="0" dirty="0" smtClean="0">
                <a:solidFill>
                  <a:srgbClr val="666666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erinatal </a:t>
            </a:r>
          </a:p>
          <a:p>
            <a:pPr lvl="1">
              <a:spcBef>
                <a:spcPct val="20000"/>
              </a:spcBef>
              <a:buClr>
                <a:srgbClr val="7C2529"/>
              </a:buClr>
              <a:buFont typeface="Arial" pitchFamily="34" charset="0"/>
              <a:buChar char="•"/>
              <a:defRPr/>
            </a:pPr>
            <a:r>
              <a:rPr lang="en-US" sz="1500" kern="0" dirty="0">
                <a:solidFill>
                  <a:srgbClr val="666666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J</a:t>
            </a:r>
            <a:r>
              <a:rPr lang="en-US" sz="1500" kern="0" dirty="0" err="1" smtClean="0">
                <a:solidFill>
                  <a:srgbClr val="666666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oint</a:t>
            </a:r>
            <a:r>
              <a:rPr lang="en-US" sz="1500" kern="0" dirty="0" smtClean="0">
                <a:solidFill>
                  <a:srgbClr val="666666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replacement </a:t>
            </a:r>
          </a:p>
          <a:p>
            <a:pPr lvl="1">
              <a:spcBef>
                <a:spcPct val="20000"/>
              </a:spcBef>
              <a:buClr>
                <a:srgbClr val="7C2529"/>
              </a:buClr>
              <a:buFont typeface="Arial" pitchFamily="34" charset="0"/>
              <a:buChar char="•"/>
              <a:defRPr/>
            </a:pPr>
            <a:r>
              <a:rPr lang="en-US" sz="1500" kern="0" dirty="0">
                <a:solidFill>
                  <a:srgbClr val="666666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</a:t>
            </a:r>
            <a:r>
              <a:rPr lang="en-US" sz="1500" kern="0" dirty="0" err="1" smtClean="0">
                <a:solidFill>
                  <a:srgbClr val="666666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thma</a:t>
            </a:r>
            <a:r>
              <a:rPr lang="en-US" sz="1500" kern="0" dirty="0" smtClean="0">
                <a:solidFill>
                  <a:srgbClr val="666666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exacerbation</a:t>
            </a:r>
          </a:p>
          <a:p>
            <a:pPr lvl="1">
              <a:spcBef>
                <a:spcPct val="20000"/>
              </a:spcBef>
              <a:buClr>
                <a:srgbClr val="7C2529"/>
              </a:buClr>
              <a:buFont typeface="Arial" pitchFamily="34" charset="0"/>
              <a:buChar char="•"/>
              <a:defRPr/>
            </a:pPr>
            <a:r>
              <a:rPr lang="en-US" sz="1500" kern="0" dirty="0" smtClean="0">
                <a:solidFill>
                  <a:srgbClr val="666666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olonoscopy</a:t>
            </a:r>
          </a:p>
          <a:p>
            <a:pPr lvl="1">
              <a:spcBef>
                <a:spcPct val="20000"/>
              </a:spcBef>
              <a:buClr>
                <a:srgbClr val="7C2529"/>
              </a:buClr>
              <a:buFont typeface="Arial" pitchFamily="34" charset="0"/>
              <a:buChar char="•"/>
              <a:defRPr/>
            </a:pPr>
            <a:r>
              <a:rPr lang="en-US" sz="1500" kern="0" dirty="0" smtClean="0">
                <a:solidFill>
                  <a:srgbClr val="666666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holecystectomy </a:t>
            </a:r>
          </a:p>
          <a:p>
            <a:pPr lvl="1">
              <a:spcBef>
                <a:spcPct val="20000"/>
              </a:spcBef>
              <a:buClr>
                <a:srgbClr val="7C2529"/>
              </a:buClr>
              <a:buFont typeface="Arial" pitchFamily="34" charset="0"/>
              <a:buChar char="•"/>
              <a:defRPr/>
            </a:pPr>
            <a:r>
              <a:rPr lang="en-US" sz="1500" kern="0" dirty="0" smtClean="0">
                <a:solidFill>
                  <a:srgbClr val="666666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DHD</a:t>
            </a:r>
            <a:endParaRPr lang="en-US" sz="1500" kern="0" dirty="0" smtClean="0">
              <a:solidFill>
                <a:srgbClr val="FF0F00">
                  <a:lumMod val="25000"/>
                </a:srgb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1" name="Rectangle 24"/>
          <p:cNvSpPr txBox="1">
            <a:spLocks/>
          </p:cNvSpPr>
          <p:nvPr/>
        </p:nvSpPr>
        <p:spPr bwMode="gray">
          <a:xfrm>
            <a:off x="6004918" y="4753521"/>
            <a:ext cx="2920422" cy="969496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lvl="4" indent="-130175" algn="r" defTabSz="895350">
              <a:buClr>
                <a:schemeClr val="tx2"/>
              </a:buClr>
              <a:buSzPct val="89000"/>
              <a:buFont typeface="Arial" pitchFamily="34" charset="0"/>
              <a:defRPr sz="700" i="1">
                <a:solidFill>
                  <a:schemeClr val="tx1"/>
                </a:solidFill>
                <a:latin typeface="+mn-lt"/>
              </a:defRPr>
            </a:lvl5pPr>
            <a:lvl6pPr marL="12033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defRPr sz="700" i="1">
                <a:solidFill>
                  <a:schemeClr val="tx1"/>
                </a:solidFill>
                <a:latin typeface="+mn-lt"/>
              </a:defRPr>
            </a:lvl6pPr>
            <a:lvl7pPr marL="16605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defRPr sz="700" i="1">
                <a:solidFill>
                  <a:schemeClr val="tx1"/>
                </a:solidFill>
                <a:latin typeface="+mn-lt"/>
              </a:defRPr>
            </a:lvl7pPr>
            <a:lvl8pPr marL="21177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defRPr sz="700" i="1">
                <a:solidFill>
                  <a:schemeClr val="tx1"/>
                </a:solidFill>
                <a:latin typeface="+mn-lt"/>
              </a:defRPr>
            </a:lvl8pPr>
            <a:lvl9pPr marL="25749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defRPr sz="700" i="1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ct val="20000"/>
              </a:spcBef>
              <a:buClr>
                <a:srgbClr val="7C2529"/>
              </a:buClr>
              <a:buFont typeface="Arial" pitchFamily="34" charset="0"/>
              <a:buChar char="•"/>
              <a:defRPr/>
            </a:pPr>
            <a:r>
              <a:rPr lang="en-US" sz="1500" kern="0" dirty="0" smtClean="0">
                <a:solidFill>
                  <a:srgbClr val="666666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ayment for value and quality in nursing facilities and home and community based services</a:t>
            </a:r>
          </a:p>
          <a:p>
            <a:pPr lvl="1">
              <a:spcBef>
                <a:spcPct val="20000"/>
              </a:spcBef>
              <a:buClr>
                <a:srgbClr val="7C2529"/>
              </a:buClr>
              <a:buFont typeface="Arial" pitchFamily="34" charset="0"/>
              <a:buChar char="•"/>
              <a:defRPr/>
            </a:pPr>
            <a:r>
              <a:rPr lang="en-US" sz="1500" kern="0" dirty="0" smtClean="0">
                <a:solidFill>
                  <a:srgbClr val="666666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raining for providers</a:t>
            </a:r>
          </a:p>
        </p:txBody>
      </p:sp>
      <p:cxnSp>
        <p:nvCxnSpPr>
          <p:cNvPr id="133" name="Straight Connector 132"/>
          <p:cNvCxnSpPr>
            <a:cxnSpLocks/>
          </p:cNvCxnSpPr>
          <p:nvPr/>
        </p:nvCxnSpPr>
        <p:spPr bwMode="gray">
          <a:xfrm>
            <a:off x="6004917" y="2874550"/>
            <a:ext cx="2920422" cy="0"/>
          </a:xfrm>
          <a:prstGeom prst="line">
            <a:avLst/>
          </a:prstGeom>
          <a:solidFill>
            <a:srgbClr val="2DCCD3"/>
          </a:solidFill>
          <a:ln w="9525" cap="flat" cmpd="sng" algn="ctr">
            <a:solidFill>
              <a:srgbClr val="808080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5" name="Rectangle 16"/>
          <p:cNvSpPr txBox="1">
            <a:spLocks/>
          </p:cNvSpPr>
          <p:nvPr/>
        </p:nvSpPr>
        <p:spPr bwMode="gray">
          <a:xfrm>
            <a:off x="2608701" y="1066800"/>
            <a:ext cx="3030100" cy="1708160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lvl="4" indent="-130175" algn="r" defTabSz="895350">
              <a:buClr>
                <a:schemeClr val="tx2"/>
              </a:buClr>
              <a:buSzPct val="89000"/>
              <a:buFont typeface="Arial" pitchFamily="34" charset="0"/>
              <a:defRPr sz="700" i="1">
                <a:solidFill>
                  <a:schemeClr val="tx1"/>
                </a:solidFill>
                <a:latin typeface="+mn-lt"/>
              </a:defRPr>
            </a:lvl5pPr>
            <a:lvl6pPr marL="12033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defRPr sz="700" i="1">
                <a:solidFill>
                  <a:schemeClr val="tx1"/>
                </a:solidFill>
                <a:latin typeface="+mn-lt"/>
              </a:defRPr>
            </a:lvl6pPr>
            <a:lvl7pPr marL="16605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defRPr sz="700" i="1">
                <a:solidFill>
                  <a:schemeClr val="tx1"/>
                </a:solidFill>
                <a:latin typeface="+mn-lt"/>
              </a:defRPr>
            </a:lvl7pPr>
            <a:lvl8pPr marL="21177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defRPr sz="700" i="1">
                <a:solidFill>
                  <a:schemeClr val="tx1"/>
                </a:solidFill>
                <a:latin typeface="+mn-lt"/>
              </a:defRPr>
            </a:lvl8pPr>
            <a:lvl9pPr marL="25749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defRPr sz="700" i="1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ct val="20000"/>
              </a:spcBef>
              <a:buClr>
                <a:srgbClr val="7C2529"/>
              </a:buClr>
              <a:buFont typeface="Arial" pitchFamily="34" charset="0"/>
              <a:buChar char="•"/>
              <a:defRPr/>
            </a:pPr>
            <a:r>
              <a:rPr lang="en-US" sz="1500" kern="0" dirty="0" smtClean="0">
                <a:solidFill>
                  <a:srgbClr val="666666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atient Centered </a:t>
            </a:r>
            <a:r>
              <a:rPr lang="en-US" sz="1500" kern="0" dirty="0">
                <a:solidFill>
                  <a:srgbClr val="666666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M</a:t>
            </a:r>
            <a:r>
              <a:rPr lang="en-US" sz="1500" kern="0" dirty="0" smtClean="0">
                <a:solidFill>
                  <a:srgbClr val="666666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edical </a:t>
            </a:r>
            <a:r>
              <a:rPr lang="en-US" sz="1500" kern="0" dirty="0">
                <a:solidFill>
                  <a:srgbClr val="666666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H</a:t>
            </a:r>
            <a:r>
              <a:rPr lang="en-US" sz="1500" kern="0" dirty="0" smtClean="0">
                <a:solidFill>
                  <a:srgbClr val="666666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omes</a:t>
            </a:r>
          </a:p>
          <a:p>
            <a:pPr lvl="1">
              <a:spcBef>
                <a:spcPct val="20000"/>
              </a:spcBef>
              <a:buClr>
                <a:srgbClr val="7C2529"/>
              </a:buClr>
              <a:buFont typeface="Arial" pitchFamily="34" charset="0"/>
              <a:buChar char="•"/>
              <a:defRPr/>
            </a:pPr>
            <a:r>
              <a:rPr lang="en-US" sz="1500" kern="0" dirty="0" smtClean="0">
                <a:solidFill>
                  <a:srgbClr val="666666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ennessee Health Link for people with the highest behavioral health needs</a:t>
            </a:r>
          </a:p>
          <a:p>
            <a:pPr lvl="1">
              <a:spcBef>
                <a:spcPct val="20000"/>
              </a:spcBef>
              <a:buClr>
                <a:srgbClr val="7C2529"/>
              </a:buClr>
              <a:buFont typeface="Arial" pitchFamily="34" charset="0"/>
              <a:buChar char="•"/>
              <a:defRPr/>
            </a:pPr>
            <a:r>
              <a:rPr lang="en-US" sz="1500" kern="0" dirty="0" smtClean="0">
                <a:solidFill>
                  <a:srgbClr val="666666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are coordination tool with hospital and ED admission provider alerts</a:t>
            </a:r>
          </a:p>
        </p:txBody>
      </p:sp>
      <p:sp>
        <p:nvSpPr>
          <p:cNvPr id="136" name="Rectangle 30"/>
          <p:cNvSpPr txBox="1">
            <a:spLocks/>
          </p:cNvSpPr>
          <p:nvPr/>
        </p:nvSpPr>
        <p:spPr bwMode="gray">
          <a:xfrm>
            <a:off x="2628873" y="3447721"/>
            <a:ext cx="3030100" cy="230832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lvl="4" indent="-130175" algn="r" defTabSz="895350">
              <a:buClr>
                <a:schemeClr val="tx2"/>
              </a:buClr>
              <a:buSzPct val="89000"/>
              <a:buFont typeface="Arial" pitchFamily="34" charset="0"/>
              <a:defRPr sz="700" i="1">
                <a:solidFill>
                  <a:schemeClr val="tx1"/>
                </a:solidFill>
                <a:latin typeface="+mn-lt"/>
              </a:defRPr>
            </a:lvl5pPr>
            <a:lvl6pPr marL="12033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defRPr sz="700" i="1">
                <a:solidFill>
                  <a:schemeClr val="tx1"/>
                </a:solidFill>
                <a:latin typeface="+mn-lt"/>
              </a:defRPr>
            </a:lvl6pPr>
            <a:lvl7pPr marL="16605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defRPr sz="700" i="1">
                <a:solidFill>
                  <a:schemeClr val="tx1"/>
                </a:solidFill>
                <a:latin typeface="+mn-lt"/>
              </a:defRPr>
            </a:lvl7pPr>
            <a:lvl8pPr marL="21177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defRPr sz="700" i="1">
                <a:solidFill>
                  <a:schemeClr val="tx1"/>
                </a:solidFill>
                <a:latin typeface="+mn-lt"/>
              </a:defRPr>
            </a:lvl8pPr>
            <a:lvl9pPr marL="25749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defRPr sz="700" i="1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ct val="20000"/>
              </a:spcBef>
              <a:buClr>
                <a:srgbClr val="7C2529"/>
              </a:buClr>
              <a:buFont typeface="Arial" pitchFamily="34" charset="0"/>
              <a:buChar char="•"/>
              <a:defRPr/>
            </a:pPr>
            <a:r>
              <a:rPr lang="en-US" sz="1500" kern="0" dirty="0" smtClean="0">
                <a:solidFill>
                  <a:srgbClr val="666666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75 Episodes of Care</a:t>
            </a:r>
          </a:p>
        </p:txBody>
      </p:sp>
      <p:sp>
        <p:nvSpPr>
          <p:cNvPr id="137" name="Rectangle 30"/>
          <p:cNvSpPr txBox="1">
            <a:spLocks/>
          </p:cNvSpPr>
          <p:nvPr/>
        </p:nvSpPr>
        <p:spPr bwMode="gray">
          <a:xfrm>
            <a:off x="2608701" y="4773305"/>
            <a:ext cx="3030100" cy="1246495"/>
          </a:xfrm>
          <a:prstGeom prst="rect">
            <a:avLst/>
          </a:prstGeom>
          <a:solidFill>
            <a:sysClr val="window" lastClr="FFFFFF"/>
          </a:solidFill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lvl="4" indent="-130175" algn="r" defTabSz="895350">
              <a:buClr>
                <a:schemeClr val="tx2"/>
              </a:buClr>
              <a:buSzPct val="89000"/>
              <a:buFont typeface="Arial" pitchFamily="34" charset="0"/>
              <a:defRPr sz="700" i="1">
                <a:solidFill>
                  <a:schemeClr val="tx1"/>
                </a:solidFill>
                <a:latin typeface="+mn-lt"/>
              </a:defRPr>
            </a:lvl5pPr>
            <a:lvl6pPr marL="12033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defRPr sz="700" i="1">
                <a:solidFill>
                  <a:schemeClr val="tx1"/>
                </a:solidFill>
                <a:latin typeface="+mn-lt"/>
              </a:defRPr>
            </a:lvl6pPr>
            <a:lvl7pPr marL="16605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defRPr sz="700" i="1">
                <a:solidFill>
                  <a:schemeClr val="tx1"/>
                </a:solidFill>
                <a:latin typeface="+mn-lt"/>
              </a:defRPr>
            </a:lvl7pPr>
            <a:lvl8pPr marL="21177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defRPr sz="700" i="1">
                <a:solidFill>
                  <a:schemeClr val="tx1"/>
                </a:solidFill>
                <a:latin typeface="+mn-lt"/>
              </a:defRPr>
            </a:lvl8pPr>
            <a:lvl9pPr marL="25749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defRPr sz="700" i="1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ct val="20000"/>
              </a:spcBef>
              <a:buClr>
                <a:srgbClr val="7C2529"/>
              </a:buClr>
              <a:buFont typeface="Arial" pitchFamily="34" charset="0"/>
              <a:buChar char="•"/>
              <a:defRPr/>
            </a:pPr>
            <a:r>
              <a:rPr lang="en-US" sz="1500" kern="0" dirty="0" smtClean="0">
                <a:solidFill>
                  <a:srgbClr val="666666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Quality and acuity adjusted payments for LTSS services</a:t>
            </a:r>
          </a:p>
          <a:p>
            <a:pPr lvl="1">
              <a:spcBef>
                <a:spcPct val="20000"/>
              </a:spcBef>
              <a:buClr>
                <a:srgbClr val="7C2529"/>
              </a:buClr>
              <a:buFont typeface="Arial" pitchFamily="34" charset="0"/>
              <a:buChar char="•"/>
              <a:defRPr/>
            </a:pPr>
            <a:r>
              <a:rPr lang="en-US" sz="1500" kern="0" dirty="0" smtClean="0">
                <a:solidFill>
                  <a:srgbClr val="666666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Value-based purchasing for enhanced respiratory care</a:t>
            </a:r>
          </a:p>
          <a:p>
            <a:pPr lvl="1">
              <a:spcBef>
                <a:spcPct val="20000"/>
              </a:spcBef>
              <a:buClr>
                <a:srgbClr val="7C2529"/>
              </a:buClr>
              <a:buFont typeface="Arial" pitchFamily="34" charset="0"/>
              <a:buChar char="•"/>
              <a:defRPr/>
            </a:pPr>
            <a:r>
              <a:rPr lang="en-US" sz="1500" kern="0" dirty="0" smtClean="0">
                <a:solidFill>
                  <a:srgbClr val="666666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orkforce development</a:t>
            </a:r>
          </a:p>
        </p:txBody>
      </p:sp>
      <p:cxnSp>
        <p:nvCxnSpPr>
          <p:cNvPr id="138" name="Straight Connector 137"/>
          <p:cNvCxnSpPr>
            <a:cxnSpLocks/>
          </p:cNvCxnSpPr>
          <p:nvPr/>
        </p:nvCxnSpPr>
        <p:spPr bwMode="gray">
          <a:xfrm>
            <a:off x="2608700" y="2874550"/>
            <a:ext cx="3030100" cy="0"/>
          </a:xfrm>
          <a:prstGeom prst="line">
            <a:avLst/>
          </a:prstGeom>
          <a:solidFill>
            <a:srgbClr val="2DCCD3"/>
          </a:solidFill>
          <a:ln w="9525" cap="flat" cmpd="sng" algn="ctr">
            <a:solidFill>
              <a:srgbClr val="808080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9" name="Straight Connector 138"/>
          <p:cNvCxnSpPr>
            <a:cxnSpLocks/>
          </p:cNvCxnSpPr>
          <p:nvPr/>
        </p:nvCxnSpPr>
        <p:spPr bwMode="gray">
          <a:xfrm>
            <a:off x="2608700" y="4633992"/>
            <a:ext cx="3030100" cy="0"/>
          </a:xfrm>
          <a:prstGeom prst="line">
            <a:avLst/>
          </a:prstGeom>
          <a:solidFill>
            <a:srgbClr val="2DCCD3"/>
          </a:solidFill>
          <a:ln w="9525" cap="flat" cmpd="sng" algn="ctr">
            <a:solidFill>
              <a:srgbClr val="808080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0" name="Straight Connector 139"/>
          <p:cNvCxnSpPr>
            <a:cxnSpLocks/>
          </p:cNvCxnSpPr>
          <p:nvPr/>
        </p:nvCxnSpPr>
        <p:spPr bwMode="gray">
          <a:xfrm>
            <a:off x="6004917" y="4633992"/>
            <a:ext cx="2920422" cy="0"/>
          </a:xfrm>
          <a:prstGeom prst="line">
            <a:avLst/>
          </a:prstGeom>
          <a:solidFill>
            <a:srgbClr val="2DCCD3"/>
          </a:solidFill>
          <a:ln w="9525" cap="flat" cmpd="sng" algn="ctr">
            <a:solidFill>
              <a:srgbClr val="808080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787719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2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4"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Box 27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52400" y="920185"/>
            <a:ext cx="8969054" cy="502493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  <a:effectLst>
            <a:outerShdw blurRad="50800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>
            <a:noAutofit/>
          </a:bodyPr>
          <a:lstStyle>
            <a:defPPr>
              <a:defRPr lang="en-US"/>
            </a:defPPr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9" name="AutoShape 250"/>
          <p:cNvSpPr>
            <a:spLocks noChangeArrowheads="1"/>
          </p:cNvSpPr>
          <p:nvPr/>
        </p:nvSpPr>
        <p:spPr bwMode="gray">
          <a:xfrm>
            <a:off x="258916" y="1480491"/>
            <a:ext cx="1021164" cy="879278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3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wrap="square" lIns="46643" tIns="46643" rIns="46643" bIns="46643" anchor="ctr" anchorCtr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cces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74946" y="226386"/>
            <a:ext cx="8794113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400" dirty="0">
                <a:solidFill>
                  <a:schemeClr val="accent3"/>
                </a:solidFill>
              </a:rPr>
              <a:t>Objectives of PCMH and </a:t>
            </a:r>
            <a:r>
              <a:rPr lang="en-US" sz="2400" dirty="0" smtClean="0">
                <a:solidFill>
                  <a:schemeClr val="accent3"/>
                </a:solidFill>
              </a:rPr>
              <a:t>Tennessee Health Link</a:t>
            </a:r>
            <a:endParaRPr lang="en-US" sz="2400" dirty="0">
              <a:solidFill>
                <a:schemeClr val="accent3"/>
              </a:solidFill>
            </a:endParaRPr>
          </a:p>
        </p:txBody>
      </p:sp>
      <p:sp>
        <p:nvSpPr>
          <p:cNvPr id="23" name="Rectangle 11"/>
          <p:cNvSpPr txBox="1">
            <a:spLocks/>
          </p:cNvSpPr>
          <p:nvPr/>
        </p:nvSpPr>
        <p:spPr>
          <a:xfrm>
            <a:off x="1978670" y="5701037"/>
            <a:ext cx="5255141" cy="471042"/>
          </a:xfrm>
          <a:prstGeom prst="rect">
            <a:avLst/>
          </a:prstGeom>
          <a:solidFill>
            <a:schemeClr val="accent3"/>
          </a:solidFill>
          <a:ln w="19050">
            <a:solidFill>
              <a:schemeClr val="accent3"/>
            </a:solidFill>
            <a:miter lim="800000"/>
            <a:headEnd/>
            <a:tailEnd/>
          </a:ln>
          <a:effectLst>
            <a:outerShdw blurRad="50800" dist="38100" dir="2700000" algn="tl" rotWithShape="0">
              <a:schemeClr val="bg1">
                <a:lumMod val="50000"/>
                <a:alpha val="40000"/>
              </a:schemeClr>
            </a:outerShdw>
          </a:effectLst>
          <a:extLst/>
        </p:spPr>
        <p:txBody>
          <a:bodyPr vert="horz" wrap="square" lIns="77739" tIns="46643" rIns="77739" bIns="46643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algn="ctr" defTabSz="895350" eaLnBrk="1" hangingPunct="1">
              <a:buClr>
                <a:schemeClr val="tx2"/>
              </a:buClr>
              <a:defRPr sz="1100" b="1" baseline="0">
                <a:solidFill>
                  <a:schemeClr val="tx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FF0F00"/>
              </a:buClr>
            </a:pPr>
            <a:r>
              <a:rPr lang="en-US" sz="1200" dirty="0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imary care transformation aims to enhance coordination and integration across behavioral and physical health</a:t>
            </a:r>
          </a:p>
        </p:txBody>
      </p:sp>
      <p:sp>
        <p:nvSpPr>
          <p:cNvPr id="20" name="AutoShape 250"/>
          <p:cNvSpPr>
            <a:spLocks noChangeArrowheads="1"/>
          </p:cNvSpPr>
          <p:nvPr/>
        </p:nvSpPr>
        <p:spPr bwMode="gray">
          <a:xfrm>
            <a:off x="258916" y="2433233"/>
            <a:ext cx="1021164" cy="753668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3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wrap="square" lIns="46643" tIns="46643" rIns="46643" bIns="46643" anchor="ctr" anchorCtr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oint decision making</a:t>
            </a:r>
          </a:p>
        </p:txBody>
      </p:sp>
      <p:sp>
        <p:nvSpPr>
          <p:cNvPr id="21" name="AutoShape 250"/>
          <p:cNvSpPr>
            <a:spLocks noChangeArrowheads="1"/>
          </p:cNvSpPr>
          <p:nvPr/>
        </p:nvSpPr>
        <p:spPr bwMode="gray">
          <a:xfrm>
            <a:off x="258916" y="3260367"/>
            <a:ext cx="1021164" cy="659459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3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wrap="square" lIns="46643" tIns="46643" rIns="46643" bIns="46643" anchor="ctr" anchorCtr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indsets</a:t>
            </a:r>
          </a:p>
        </p:txBody>
      </p:sp>
      <p:sp>
        <p:nvSpPr>
          <p:cNvPr id="22" name="AutoShape 250"/>
          <p:cNvSpPr>
            <a:spLocks noChangeArrowheads="1"/>
          </p:cNvSpPr>
          <p:nvPr/>
        </p:nvSpPr>
        <p:spPr bwMode="gray">
          <a:xfrm>
            <a:off x="258916" y="3993288"/>
            <a:ext cx="1021164" cy="1643413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3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wrap="square" lIns="46643" tIns="46643" rIns="46643" bIns="46643" anchor="ctr" anchorCtr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FFFFF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s of value</a:t>
            </a:r>
          </a:p>
        </p:txBody>
      </p:sp>
      <p:sp>
        <p:nvSpPr>
          <p:cNvPr id="14" name="Rectangle 4"/>
          <p:cNvSpPr txBox="1">
            <a:spLocks/>
          </p:cNvSpPr>
          <p:nvPr/>
        </p:nvSpPr>
        <p:spPr>
          <a:xfrm>
            <a:off x="1384154" y="1480491"/>
            <a:ext cx="3702574" cy="8792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100000"/>
              </a:spcBef>
              <a:spcAft>
                <a:spcPct val="0"/>
              </a:spcAft>
              <a:buClr>
                <a:srgbClr val="FF0F00"/>
              </a:buClr>
            </a:pPr>
            <a:r>
              <a:rPr lang="en-US" sz="1400" dirty="0">
                <a:solidFill>
                  <a:srgbClr val="8080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sure access to the </a:t>
            </a:r>
            <a:r>
              <a:rPr lang="en-US" sz="1400" b="1" dirty="0">
                <a:solidFill>
                  <a:srgbClr val="8080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ull spectrum of needed care for all patients</a:t>
            </a:r>
            <a:r>
              <a:rPr lang="en-US" sz="1400" b="1" baseline="30000" dirty="0">
                <a:solidFill>
                  <a:srgbClr val="8080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</a:t>
            </a:r>
            <a:r>
              <a:rPr lang="en-US" sz="1400" dirty="0">
                <a:solidFill>
                  <a:srgbClr val="8080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including those with long-term services and supports needs</a:t>
            </a:r>
          </a:p>
        </p:txBody>
      </p:sp>
      <p:sp>
        <p:nvSpPr>
          <p:cNvPr id="28" name="Rectangle 4"/>
          <p:cNvSpPr txBox="1">
            <a:spLocks/>
          </p:cNvSpPr>
          <p:nvPr/>
        </p:nvSpPr>
        <p:spPr>
          <a:xfrm>
            <a:off x="5195713" y="1480492"/>
            <a:ext cx="3702574" cy="659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100000"/>
              </a:spcBef>
              <a:spcAft>
                <a:spcPct val="0"/>
              </a:spcAft>
              <a:buClr>
                <a:srgbClr val="FF0F00"/>
              </a:buClr>
            </a:pPr>
            <a:r>
              <a:rPr lang="en-US" sz="1400" dirty="0">
                <a:solidFill>
                  <a:srgbClr val="8080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sure access to a </a:t>
            </a:r>
            <a:r>
              <a:rPr lang="en-US" sz="1400" b="1" dirty="0">
                <a:solidFill>
                  <a:srgbClr val="8080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ange of behavioral-health related supports </a:t>
            </a:r>
            <a:r>
              <a:rPr lang="en-US" sz="1400" dirty="0">
                <a:solidFill>
                  <a:srgbClr val="8080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ligned with level of need </a:t>
            </a:r>
          </a:p>
        </p:txBody>
      </p:sp>
      <p:sp>
        <p:nvSpPr>
          <p:cNvPr id="24" name="Rectangle 4"/>
          <p:cNvSpPr txBox="1">
            <a:spLocks/>
          </p:cNvSpPr>
          <p:nvPr/>
        </p:nvSpPr>
        <p:spPr>
          <a:xfrm>
            <a:off x="1384154" y="2433235"/>
            <a:ext cx="3702574" cy="4396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100000"/>
              </a:spcBef>
              <a:spcAft>
                <a:spcPct val="0"/>
              </a:spcAft>
              <a:buClr>
                <a:srgbClr val="FF0F00"/>
              </a:buClr>
            </a:pPr>
            <a:r>
              <a:rPr lang="en-US" sz="1400" smtClean="0">
                <a:solidFill>
                  <a:srgbClr val="8080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oster </a:t>
            </a:r>
            <a:r>
              <a:rPr lang="en-US" sz="1400" dirty="0">
                <a:solidFill>
                  <a:srgbClr val="8080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oint decision making across the </a:t>
            </a:r>
            <a:r>
              <a:rPr lang="en-US" sz="1400" b="1" dirty="0">
                <a:solidFill>
                  <a:srgbClr val="8080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tinuum of care providers</a:t>
            </a:r>
          </a:p>
        </p:txBody>
      </p:sp>
      <p:sp>
        <p:nvSpPr>
          <p:cNvPr id="29" name="Rectangle 4"/>
          <p:cNvSpPr txBox="1">
            <a:spLocks/>
          </p:cNvSpPr>
          <p:nvPr/>
        </p:nvSpPr>
        <p:spPr>
          <a:xfrm>
            <a:off x="5195713" y="2433235"/>
            <a:ext cx="3702574" cy="4396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100000"/>
              </a:spcBef>
              <a:spcAft>
                <a:spcPct val="0"/>
              </a:spcAft>
              <a:buClr>
                <a:srgbClr val="FF0F00"/>
              </a:buClr>
            </a:pPr>
            <a:r>
              <a:rPr lang="en-US" sz="1400" dirty="0">
                <a:solidFill>
                  <a:srgbClr val="8080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oster joint decision making across </a:t>
            </a:r>
            <a:r>
              <a:rPr lang="en-US" sz="1400" b="1" dirty="0">
                <a:solidFill>
                  <a:srgbClr val="8080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ehavioral and other health providers </a:t>
            </a:r>
          </a:p>
        </p:txBody>
      </p:sp>
      <p:sp>
        <p:nvSpPr>
          <p:cNvPr id="26" name="Rectangle 4"/>
          <p:cNvSpPr txBox="1">
            <a:spLocks/>
          </p:cNvSpPr>
          <p:nvPr/>
        </p:nvSpPr>
        <p:spPr>
          <a:xfrm>
            <a:off x="1384154" y="3260367"/>
            <a:ext cx="3702574" cy="4396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100000"/>
              </a:spcBef>
              <a:spcAft>
                <a:spcPct val="0"/>
              </a:spcAft>
              <a:buClr>
                <a:srgbClr val="FF0F00"/>
              </a:buClr>
            </a:pPr>
            <a:r>
              <a:rPr lang="en-US" sz="1400" dirty="0">
                <a:solidFill>
                  <a:srgbClr val="8080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still awareness of </a:t>
            </a:r>
            <a:r>
              <a:rPr lang="en-US" sz="1400" b="1" dirty="0">
                <a:solidFill>
                  <a:srgbClr val="8080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uality, cost, and patient access </a:t>
            </a:r>
            <a:r>
              <a:rPr lang="en-US" sz="1400" dirty="0">
                <a:solidFill>
                  <a:srgbClr val="8080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cross range of providers</a:t>
            </a:r>
          </a:p>
        </p:txBody>
      </p:sp>
      <p:sp>
        <p:nvSpPr>
          <p:cNvPr id="30" name="Rectangle 4"/>
          <p:cNvSpPr txBox="1">
            <a:spLocks/>
          </p:cNvSpPr>
          <p:nvPr/>
        </p:nvSpPr>
        <p:spPr>
          <a:xfrm>
            <a:off x="5195713" y="3260367"/>
            <a:ext cx="3702574" cy="659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100000"/>
              </a:spcBef>
              <a:spcAft>
                <a:spcPct val="0"/>
              </a:spcAft>
              <a:buClr>
                <a:srgbClr val="FF0F00"/>
              </a:buClr>
            </a:pPr>
            <a:r>
              <a:rPr lang="en-US" sz="1400" dirty="0">
                <a:solidFill>
                  <a:srgbClr val="8080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still awareness of </a:t>
            </a:r>
            <a:r>
              <a:rPr lang="en-US" sz="1400" b="1" dirty="0">
                <a:solidFill>
                  <a:srgbClr val="8080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teraction of behavioral and physical health needs </a:t>
            </a:r>
            <a:r>
              <a:rPr lang="en-US" sz="1400" dirty="0">
                <a:solidFill>
                  <a:srgbClr val="8080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cluding quality and cost impact</a:t>
            </a:r>
          </a:p>
        </p:txBody>
      </p:sp>
      <p:sp>
        <p:nvSpPr>
          <p:cNvPr id="27" name="Rectangle 4"/>
          <p:cNvSpPr txBox="1">
            <a:spLocks/>
          </p:cNvSpPr>
          <p:nvPr/>
        </p:nvSpPr>
        <p:spPr>
          <a:xfrm>
            <a:off x="1384154" y="3993288"/>
            <a:ext cx="3702574" cy="1915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ts val="204"/>
              </a:spcBef>
              <a:spcAft>
                <a:spcPct val="0"/>
              </a:spcAft>
              <a:buClr>
                <a:srgbClr val="FF0F00"/>
              </a:buClr>
            </a:pPr>
            <a:r>
              <a:rPr lang="en-US" sz="1400" b="1" dirty="0">
                <a:solidFill>
                  <a:srgbClr val="8080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xpected sources of value </a:t>
            </a:r>
            <a:r>
              <a:rPr lang="en-US" sz="1400" dirty="0">
                <a:solidFill>
                  <a:srgbClr val="8080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o include </a:t>
            </a:r>
          </a:p>
          <a:p>
            <a:pPr lvl="2" fontAlgn="base">
              <a:spcBef>
                <a:spcPts val="204"/>
              </a:spcBef>
              <a:spcAft>
                <a:spcPct val="0"/>
              </a:spcAft>
              <a:buClr>
                <a:srgbClr val="FF0F00"/>
              </a:buClr>
            </a:pPr>
            <a:r>
              <a:rPr lang="en-US" sz="1400" dirty="0">
                <a:solidFill>
                  <a:srgbClr val="8080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ppropriateness of care setting</a:t>
            </a:r>
            <a:r>
              <a:rPr lang="en-US" sz="1400" baseline="30000" dirty="0">
                <a:solidFill>
                  <a:srgbClr val="8080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</a:t>
            </a:r>
            <a:endParaRPr lang="en-US" sz="1400" dirty="0">
              <a:solidFill>
                <a:srgbClr val="80808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2" fontAlgn="base">
              <a:spcBef>
                <a:spcPts val="204"/>
              </a:spcBef>
              <a:spcAft>
                <a:spcPct val="0"/>
              </a:spcAft>
              <a:buClr>
                <a:srgbClr val="FF0F00"/>
              </a:buClr>
            </a:pPr>
            <a:r>
              <a:rPr lang="en-US" sz="1400" dirty="0">
                <a:solidFill>
                  <a:srgbClr val="8080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ppropriateness of treatment</a:t>
            </a:r>
            <a:r>
              <a:rPr lang="en-US" sz="1400" baseline="30000" dirty="0">
                <a:solidFill>
                  <a:srgbClr val="8080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</a:t>
            </a:r>
            <a:endParaRPr lang="en-US" sz="1400" dirty="0">
              <a:solidFill>
                <a:srgbClr val="80808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2" fontAlgn="base">
              <a:spcBef>
                <a:spcPts val="204"/>
              </a:spcBef>
              <a:spcAft>
                <a:spcPct val="0"/>
              </a:spcAft>
              <a:buClr>
                <a:srgbClr val="FF0F00"/>
              </a:buClr>
            </a:pPr>
            <a:r>
              <a:rPr lang="en-US" sz="1400" dirty="0">
                <a:solidFill>
                  <a:srgbClr val="8080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mproved patient treatment compliance</a:t>
            </a:r>
          </a:p>
          <a:p>
            <a:pPr lvl="2" fontAlgn="base">
              <a:spcBef>
                <a:spcPts val="204"/>
              </a:spcBef>
              <a:spcAft>
                <a:spcPct val="0"/>
              </a:spcAft>
              <a:buClr>
                <a:srgbClr val="FF0F00"/>
              </a:buClr>
            </a:pPr>
            <a:r>
              <a:rPr lang="en-US" sz="1400" dirty="0">
                <a:solidFill>
                  <a:srgbClr val="8080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ferrals to high-value providers</a:t>
            </a:r>
          </a:p>
          <a:p>
            <a:pPr lvl="2" fontAlgn="base">
              <a:spcBef>
                <a:spcPts val="204"/>
              </a:spcBef>
              <a:spcAft>
                <a:spcPct val="0"/>
              </a:spcAft>
              <a:buClr>
                <a:srgbClr val="FF0F00"/>
              </a:buClr>
            </a:pPr>
            <a:r>
              <a:rPr lang="en-US" sz="1400" dirty="0">
                <a:solidFill>
                  <a:srgbClr val="8080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duced readmissions</a:t>
            </a:r>
          </a:p>
          <a:p>
            <a:pPr marL="199204" lvl="2" indent="0" fontAlgn="base">
              <a:spcBef>
                <a:spcPts val="204"/>
              </a:spcBef>
              <a:spcAft>
                <a:spcPct val="0"/>
              </a:spcAft>
              <a:buClr>
                <a:srgbClr val="FF0F00"/>
              </a:buClr>
              <a:buFont typeface="Arial" charset="0"/>
              <a:buNone/>
            </a:pPr>
            <a:endParaRPr lang="en-US" sz="1400" dirty="0">
              <a:solidFill>
                <a:srgbClr val="80808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1" name="Rectangle 4"/>
          <p:cNvSpPr txBox="1">
            <a:spLocks/>
          </p:cNvSpPr>
          <p:nvPr/>
        </p:nvSpPr>
        <p:spPr>
          <a:xfrm>
            <a:off x="5195713" y="3993288"/>
            <a:ext cx="3702574" cy="1643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50000"/>
              </a:spcBef>
              <a:spcAft>
                <a:spcPct val="0"/>
              </a:spcAft>
              <a:buClr>
                <a:srgbClr val="FF0F00"/>
              </a:buClr>
            </a:pPr>
            <a:r>
              <a:rPr lang="en-US" sz="1400" b="1" dirty="0">
                <a:solidFill>
                  <a:srgbClr val="8080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xpected sources of value </a:t>
            </a:r>
            <a:r>
              <a:rPr lang="en-US" sz="1400" dirty="0">
                <a:solidFill>
                  <a:srgbClr val="8080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o include</a:t>
            </a:r>
          </a:p>
          <a:p>
            <a:pPr lvl="2" fontAlgn="base">
              <a:spcBef>
                <a:spcPts val="204"/>
              </a:spcBef>
              <a:spcAft>
                <a:spcPct val="0"/>
              </a:spcAft>
              <a:buClr>
                <a:srgbClr val="FF0F00"/>
              </a:buClr>
            </a:pPr>
            <a:r>
              <a:rPr lang="en-US" sz="1400" dirty="0">
                <a:solidFill>
                  <a:srgbClr val="8080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ppropriateness of behavioral health care setting / forms of delivery</a:t>
            </a:r>
          </a:p>
          <a:p>
            <a:pPr lvl="2" fontAlgn="base">
              <a:spcBef>
                <a:spcPts val="204"/>
              </a:spcBef>
              <a:spcAft>
                <a:spcPct val="0"/>
              </a:spcAft>
              <a:buClr>
                <a:srgbClr val="FF0F00"/>
              </a:buClr>
            </a:pPr>
            <a:r>
              <a:rPr lang="en-US" sz="1400" dirty="0">
                <a:solidFill>
                  <a:srgbClr val="8080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hoice of behavioral healthcare providers</a:t>
            </a:r>
          </a:p>
          <a:p>
            <a:pPr lvl="2" fontAlgn="base">
              <a:spcBef>
                <a:spcPts val="204"/>
              </a:spcBef>
              <a:spcAft>
                <a:spcPct val="0"/>
              </a:spcAft>
              <a:buClr>
                <a:srgbClr val="FF0F00"/>
              </a:buClr>
            </a:pPr>
            <a:r>
              <a:rPr lang="en-US" sz="1400" dirty="0">
                <a:solidFill>
                  <a:srgbClr val="8080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ferrals to high-value providers</a:t>
            </a:r>
          </a:p>
          <a:p>
            <a:pPr lvl="2" fontAlgn="base">
              <a:spcBef>
                <a:spcPts val="204"/>
              </a:spcBef>
              <a:spcAft>
                <a:spcPct val="0"/>
              </a:spcAft>
              <a:buClr>
                <a:srgbClr val="FF0F00"/>
              </a:buClr>
            </a:pPr>
            <a:r>
              <a:rPr lang="en-US" sz="1400" dirty="0">
                <a:solidFill>
                  <a:srgbClr val="80808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edication management</a:t>
            </a:r>
          </a:p>
        </p:txBody>
      </p:sp>
      <p:cxnSp>
        <p:nvCxnSpPr>
          <p:cNvPr id="33" name="Straight Connector 32"/>
          <p:cNvCxnSpPr>
            <a:cxnSpLocks/>
          </p:cNvCxnSpPr>
          <p:nvPr/>
        </p:nvCxnSpPr>
        <p:spPr>
          <a:xfrm>
            <a:off x="1384154" y="2396501"/>
            <a:ext cx="7514131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>
            <a:cxnSpLocks/>
          </p:cNvCxnSpPr>
          <p:nvPr/>
        </p:nvCxnSpPr>
        <p:spPr>
          <a:xfrm>
            <a:off x="1384154" y="3223633"/>
            <a:ext cx="7514131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>
            <a:cxnSpLocks/>
          </p:cNvCxnSpPr>
          <p:nvPr/>
        </p:nvCxnSpPr>
        <p:spPr>
          <a:xfrm>
            <a:off x="1384154" y="3956557"/>
            <a:ext cx="7514131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6" name="Group 8"/>
          <p:cNvGrpSpPr>
            <a:grpSpLocks/>
          </p:cNvGrpSpPr>
          <p:nvPr/>
        </p:nvGrpSpPr>
        <p:grpSpPr bwMode="auto">
          <a:xfrm>
            <a:off x="1384154" y="993073"/>
            <a:ext cx="3702574" cy="458388"/>
            <a:chOff x="915" y="747"/>
            <a:chExt cx="2686" cy="283"/>
          </a:xfrm>
        </p:grpSpPr>
        <p:cxnSp>
          <p:nvCxnSpPr>
            <p:cNvPr id="47" name="AutoShape 249"/>
            <p:cNvCxnSpPr>
              <a:cxnSpLocks noChangeShapeType="1"/>
              <a:stCxn id="48" idx="4"/>
              <a:endCxn id="4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8" name="AutoShape 250"/>
            <p:cNvSpPr>
              <a:spLocks noChangeArrowheads="1"/>
            </p:cNvSpPr>
            <p:nvPr/>
          </p:nvSpPr>
          <p:spPr bwMode="auto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err="1">
                  <a:solidFill>
                    <a:srgbClr val="80808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CMH</a:t>
              </a:r>
              <a:r>
                <a:rPr lang="en-US" sz="1400" dirty="0">
                  <a:solidFill>
                    <a:srgbClr val="80808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: Holistic approach to care coordination for all patients</a:t>
              </a:r>
            </a:p>
          </p:txBody>
        </p:sp>
      </p:grpSp>
      <p:grpSp>
        <p:nvGrpSpPr>
          <p:cNvPr id="49" name="Group 8"/>
          <p:cNvGrpSpPr>
            <a:grpSpLocks/>
          </p:cNvGrpSpPr>
          <p:nvPr/>
        </p:nvGrpSpPr>
        <p:grpSpPr bwMode="auto">
          <a:xfrm>
            <a:off x="4953102" y="1002793"/>
            <a:ext cx="4098195" cy="448670"/>
            <a:chOff x="739" y="753"/>
            <a:chExt cx="2973" cy="277"/>
          </a:xfrm>
        </p:grpSpPr>
        <p:cxnSp>
          <p:nvCxnSpPr>
            <p:cNvPr id="50" name="AutoShape 249"/>
            <p:cNvCxnSpPr>
              <a:cxnSpLocks noChangeShapeType="1"/>
              <a:stCxn id="51" idx="4"/>
              <a:endCxn id="51" idx="6"/>
            </p:cNvCxnSpPr>
            <p:nvPr/>
          </p:nvCxnSpPr>
          <p:spPr bwMode="auto">
            <a:xfrm>
              <a:off x="739" y="1030"/>
              <a:ext cx="2973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1" name="AutoShape 250"/>
            <p:cNvSpPr>
              <a:spLocks noChangeArrowheads="1"/>
            </p:cNvSpPr>
            <p:nvPr/>
          </p:nvSpPr>
          <p:spPr bwMode="auto">
            <a:xfrm>
              <a:off x="739" y="753"/>
              <a:ext cx="2973" cy="27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b="1" dirty="0" smtClean="0">
                  <a:solidFill>
                    <a:srgbClr val="80808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ennessee Health Link</a:t>
              </a:r>
              <a:r>
                <a:rPr lang="en-US" sz="1400" dirty="0" smtClean="0">
                  <a:solidFill>
                    <a:srgbClr val="80808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: </a:t>
              </a:r>
              <a:r>
                <a:rPr lang="en-US" sz="1400" dirty="0">
                  <a:solidFill>
                    <a:srgbClr val="80808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oordinated approach for highest-needs behavioral health members</a:t>
              </a:r>
            </a:p>
          </p:txBody>
        </p:sp>
      </p:grpSp>
      <p:sp>
        <p:nvSpPr>
          <p:cNvPr id="37" name="Rectangle 4"/>
          <p:cNvSpPr txBox="1">
            <a:spLocks/>
          </p:cNvSpPr>
          <p:nvPr/>
        </p:nvSpPr>
        <p:spPr>
          <a:xfrm>
            <a:off x="726317" y="6264530"/>
            <a:ext cx="7759846" cy="706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19" lvl="1" indent="0" fontAlgn="base">
              <a:spcBef>
                <a:spcPts val="204"/>
              </a:spcBef>
              <a:spcAft>
                <a:spcPct val="0"/>
              </a:spcAft>
              <a:buClr>
                <a:srgbClr val="FF0F00"/>
              </a:buClr>
              <a:buFont typeface="Arial" charset="0"/>
              <a:buNone/>
            </a:pPr>
            <a:r>
              <a:rPr lang="en-US" sz="1000" dirty="0">
                <a:solidFill>
                  <a:srgbClr val="000000"/>
                </a:solidFill>
              </a:rPr>
              <a:t>1 E.g., Extended office hours, open scheduling</a:t>
            </a:r>
          </a:p>
          <a:p>
            <a:pPr marL="1619" lvl="1" indent="0" fontAlgn="base">
              <a:spcBef>
                <a:spcPts val="204"/>
              </a:spcBef>
              <a:spcAft>
                <a:spcPct val="0"/>
              </a:spcAft>
              <a:buClr>
                <a:srgbClr val="FF0F00"/>
              </a:buClr>
              <a:buFont typeface="Arial" charset="0"/>
              <a:buNone/>
            </a:pPr>
            <a:r>
              <a:rPr lang="en-US" sz="1000" dirty="0">
                <a:solidFill>
                  <a:srgbClr val="000000"/>
                </a:solidFill>
              </a:rPr>
              <a:t>2 E.g., Reduction in unnecessary ED visits and inpatient admissions; shift to lower cost facilities</a:t>
            </a:r>
          </a:p>
          <a:p>
            <a:pPr marL="1619" lvl="1" indent="0" fontAlgn="base">
              <a:spcBef>
                <a:spcPts val="204"/>
              </a:spcBef>
              <a:spcAft>
                <a:spcPct val="0"/>
              </a:spcAft>
              <a:buClr>
                <a:srgbClr val="FF0F00"/>
              </a:buClr>
              <a:buFont typeface="Arial" charset="0"/>
              <a:buNone/>
            </a:pPr>
            <a:r>
              <a:rPr lang="en-US" sz="1000" dirty="0">
                <a:solidFill>
                  <a:srgbClr val="000000"/>
                </a:solidFill>
              </a:rPr>
              <a:t>3 E.g., Improved medical management, appropriate length of stay, effective resource utilization</a:t>
            </a:r>
          </a:p>
          <a:p>
            <a:pPr marL="1619" lvl="1" indent="0" fontAlgn="base">
              <a:spcBef>
                <a:spcPts val="204"/>
              </a:spcBef>
              <a:spcAft>
                <a:spcPct val="0"/>
              </a:spcAft>
              <a:buClr>
                <a:srgbClr val="FF0F00"/>
              </a:buClr>
              <a:buFont typeface="Arial" charset="0"/>
              <a:buNone/>
            </a:pPr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275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3" name="Straight Arrow Connector 92"/>
          <p:cNvCxnSpPr/>
          <p:nvPr/>
        </p:nvCxnSpPr>
        <p:spPr>
          <a:xfrm flipH="1">
            <a:off x="3304449" y="2537162"/>
            <a:ext cx="619662" cy="56690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>
            <a:off x="1499184" y="1315076"/>
            <a:ext cx="794829" cy="514331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tailEnd type="arrow"/>
          </a:ln>
          <a:effectLst/>
        </p:spPr>
      </p:cxnSp>
      <p:sp>
        <p:nvSpPr>
          <p:cNvPr id="29" name="TextBox 28"/>
          <p:cNvSpPr txBox="1"/>
          <p:nvPr/>
        </p:nvSpPr>
        <p:spPr>
          <a:xfrm>
            <a:off x="1458833" y="1393501"/>
            <a:ext cx="121032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i="1" dirty="0">
                <a:solidFill>
                  <a:srgbClr val="FF0F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DT feeds</a:t>
            </a:r>
          </a:p>
        </p:txBody>
      </p:sp>
      <p:cxnSp>
        <p:nvCxnSpPr>
          <p:cNvPr id="2" name="Straight Arrow Connector 1"/>
          <p:cNvCxnSpPr/>
          <p:nvPr/>
        </p:nvCxnSpPr>
        <p:spPr>
          <a:xfrm flipH="1">
            <a:off x="2559397" y="4391566"/>
            <a:ext cx="60670" cy="1199547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headEnd type="arrow"/>
            <a:tailEnd type="arrow"/>
          </a:ln>
          <a:effectLst/>
        </p:spPr>
      </p:cxnSp>
      <p:cxnSp>
        <p:nvCxnSpPr>
          <p:cNvPr id="3" name="Straight Arrow Connector 2"/>
          <p:cNvCxnSpPr>
            <a:stCxn id="19" idx="2"/>
            <a:endCxn id="38" idx="7"/>
          </p:cNvCxnSpPr>
          <p:nvPr/>
        </p:nvCxnSpPr>
        <p:spPr>
          <a:xfrm flipH="1">
            <a:off x="4291974" y="1427367"/>
            <a:ext cx="154830" cy="612476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tailEnd type="arrow"/>
          </a:ln>
          <a:effectLst/>
        </p:spPr>
      </p:cxnSp>
      <p:cxnSp>
        <p:nvCxnSpPr>
          <p:cNvPr id="4" name="Straight Arrow Connector 3"/>
          <p:cNvCxnSpPr>
            <a:stCxn id="18" idx="2"/>
            <a:endCxn id="38" idx="1"/>
          </p:cNvCxnSpPr>
          <p:nvPr/>
        </p:nvCxnSpPr>
        <p:spPr>
          <a:xfrm>
            <a:off x="3425217" y="1431134"/>
            <a:ext cx="161085" cy="608709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tailEnd type="arrow"/>
          </a:ln>
          <a:effectLst/>
        </p:spPr>
      </p:cxnSp>
      <p:sp>
        <p:nvSpPr>
          <p:cNvPr id="5" name="TextBox 4"/>
          <p:cNvSpPr txBox="1"/>
          <p:nvPr/>
        </p:nvSpPr>
        <p:spPr>
          <a:xfrm>
            <a:off x="0" y="485489"/>
            <a:ext cx="9174302" cy="440403"/>
          </a:xfrm>
          <a:prstGeom prst="rect">
            <a:avLst/>
          </a:prstGeom>
          <a:solidFill>
            <a:srgbClr val="1B365D"/>
          </a:solidFill>
          <a:ln>
            <a:noFill/>
          </a:ln>
        </p:spPr>
        <p:txBody>
          <a:bodyPr wrap="square" tIns="91440" bIns="91440" rtlCol="0" anchor="ctr" anchorCtr="0">
            <a:noAutofit/>
          </a:bodyPr>
          <a:lstStyle/>
          <a:p>
            <a:pPr algn="ctr">
              <a:defRPr/>
            </a:pPr>
            <a:endParaRPr lang="en-US" sz="1200" b="1" kern="0" dirty="0">
              <a:solidFill>
                <a:prstClr val="white"/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134846" y="1163663"/>
            <a:ext cx="1334558" cy="260886"/>
          </a:xfrm>
          <a:prstGeom prst="roundRect">
            <a:avLst/>
          </a:prstGeom>
          <a:solidFill>
            <a:srgbClr val="1B365D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1200" b="1" kern="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spital A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126403" y="1501348"/>
            <a:ext cx="1334558" cy="260886"/>
          </a:xfrm>
          <a:prstGeom prst="roundRect">
            <a:avLst/>
          </a:prstGeom>
          <a:solidFill>
            <a:srgbClr val="1B365D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1200" b="1" kern="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spital B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146505" y="2260370"/>
            <a:ext cx="1334558" cy="260886"/>
          </a:xfrm>
          <a:prstGeom prst="roundRect">
            <a:avLst/>
          </a:prstGeom>
          <a:solidFill>
            <a:srgbClr val="1B365D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1200" b="1" kern="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spital D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142490" y="2597745"/>
            <a:ext cx="1334558" cy="260886"/>
          </a:xfrm>
          <a:prstGeom prst="roundRect">
            <a:avLst/>
          </a:prstGeom>
          <a:solidFill>
            <a:srgbClr val="1B365D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1200" b="1" kern="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spital E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1776082" y="3024781"/>
            <a:ext cx="1498543" cy="1284520"/>
          </a:xfrm>
          <a:prstGeom prst="roundRect">
            <a:avLst/>
          </a:prstGeom>
          <a:solidFill>
            <a:srgbClr val="1B365D"/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1400" b="1" kern="0" dirty="0" smtClean="0">
                <a:solidFill>
                  <a:prstClr val="white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hared care coordination tool</a:t>
            </a:r>
          </a:p>
        </p:txBody>
      </p:sp>
      <p:sp>
        <p:nvSpPr>
          <p:cNvPr id="11" name="Oval 10"/>
          <p:cNvSpPr/>
          <p:nvPr/>
        </p:nvSpPr>
        <p:spPr>
          <a:xfrm>
            <a:off x="3241095" y="4784559"/>
            <a:ext cx="726088" cy="457200"/>
          </a:xfrm>
          <a:prstGeom prst="ellipse">
            <a:avLst/>
          </a:prstGeom>
          <a:solidFill>
            <a:srgbClr val="1B365D">
              <a:lumMod val="60000"/>
              <a:lumOff val="40000"/>
            </a:srgb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1200" b="1" kern="0" dirty="0" smtClean="0">
                <a:solidFill>
                  <a:srgbClr val="EEECE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CP</a:t>
            </a:r>
          </a:p>
        </p:txBody>
      </p:sp>
      <p:sp>
        <p:nvSpPr>
          <p:cNvPr id="12" name="Oval 11"/>
          <p:cNvSpPr/>
          <p:nvPr/>
        </p:nvSpPr>
        <p:spPr>
          <a:xfrm>
            <a:off x="3077712" y="5449903"/>
            <a:ext cx="726088" cy="457200"/>
          </a:xfrm>
          <a:prstGeom prst="ellipse">
            <a:avLst/>
          </a:prstGeom>
          <a:solidFill>
            <a:srgbClr val="1B365D">
              <a:lumMod val="60000"/>
              <a:lumOff val="40000"/>
            </a:srgb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1200" b="1" kern="0" dirty="0" smtClean="0">
                <a:solidFill>
                  <a:srgbClr val="EEECE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CP</a:t>
            </a:r>
          </a:p>
        </p:txBody>
      </p:sp>
      <p:sp>
        <p:nvSpPr>
          <p:cNvPr id="13" name="Oval 12"/>
          <p:cNvSpPr/>
          <p:nvPr/>
        </p:nvSpPr>
        <p:spPr>
          <a:xfrm>
            <a:off x="961065" y="5420888"/>
            <a:ext cx="1289304" cy="493776"/>
          </a:xfrm>
          <a:prstGeom prst="ellipse">
            <a:avLst/>
          </a:prstGeom>
          <a:solidFill>
            <a:srgbClr val="1B365D">
              <a:lumMod val="60000"/>
              <a:lumOff val="40000"/>
            </a:srgb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1050" b="1" kern="0" dirty="0" smtClean="0">
                <a:solidFill>
                  <a:srgbClr val="EEECE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ennessee Health Link </a:t>
            </a:r>
            <a:endParaRPr lang="en-US" sz="1050" b="1" kern="0" dirty="0">
              <a:solidFill>
                <a:srgbClr val="EEECE1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2177196" y="5661248"/>
            <a:ext cx="726088" cy="457200"/>
          </a:xfrm>
          <a:prstGeom prst="ellipse">
            <a:avLst/>
          </a:prstGeom>
          <a:solidFill>
            <a:srgbClr val="1B365D">
              <a:lumMod val="60000"/>
              <a:lumOff val="40000"/>
            </a:srgb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1200" b="1" kern="0" dirty="0" smtClean="0">
                <a:solidFill>
                  <a:srgbClr val="EEECE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CP</a:t>
            </a:r>
          </a:p>
        </p:txBody>
      </p:sp>
      <p:sp>
        <p:nvSpPr>
          <p:cNvPr id="15" name="Oval 14"/>
          <p:cNvSpPr/>
          <p:nvPr/>
        </p:nvSpPr>
        <p:spPr>
          <a:xfrm>
            <a:off x="1300849" y="4841688"/>
            <a:ext cx="726088" cy="457200"/>
          </a:xfrm>
          <a:prstGeom prst="ellipse">
            <a:avLst/>
          </a:prstGeom>
          <a:solidFill>
            <a:srgbClr val="1B365D">
              <a:lumMod val="60000"/>
              <a:lumOff val="40000"/>
            </a:srgb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1200" b="1" kern="0" dirty="0" smtClean="0">
                <a:solidFill>
                  <a:srgbClr val="EEECE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CP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255879" y="4430070"/>
            <a:ext cx="26706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i="1" dirty="0">
                <a:solidFill>
                  <a:srgbClr val="FF0F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are coordination information</a:t>
            </a:r>
          </a:p>
        </p:txBody>
      </p:sp>
      <p:sp>
        <p:nvSpPr>
          <p:cNvPr id="17" name="TextBox 39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09883" y="501683"/>
            <a:ext cx="8473794" cy="430887"/>
          </a:xfrm>
          <a:prstGeom prst="rect">
            <a:avLst/>
          </a:prstGeom>
          <a:noFill/>
          <a:ln w="25400" cap="flat" cmpd="sng" algn="ctr">
            <a:noFill/>
            <a:prstDash val="solid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lvl="4" indent="-130175" algn="r" defTabSz="895350">
              <a:buClr>
                <a:schemeClr val="tx2"/>
              </a:buClr>
              <a:buSzPct val="89000"/>
              <a:buFont typeface="Arial" pitchFamily="34" charset="0"/>
              <a:defRPr sz="700" i="1">
                <a:solidFill>
                  <a:schemeClr val="tx1"/>
                </a:solidFill>
                <a:latin typeface="+mn-lt"/>
              </a:defRPr>
            </a:lvl5pPr>
            <a:lvl6pPr marL="12033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defRPr sz="700" i="1">
                <a:solidFill>
                  <a:schemeClr val="tx1"/>
                </a:solidFill>
                <a:latin typeface="+mn-lt"/>
              </a:defRPr>
            </a:lvl6pPr>
            <a:lvl7pPr marL="16605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defRPr sz="700" i="1">
                <a:solidFill>
                  <a:schemeClr val="tx1"/>
                </a:solidFill>
                <a:latin typeface="+mn-lt"/>
              </a:defRPr>
            </a:lvl7pPr>
            <a:lvl8pPr marL="21177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defRPr sz="700" i="1">
                <a:solidFill>
                  <a:schemeClr val="tx1"/>
                </a:solidFill>
                <a:latin typeface="+mn-lt"/>
              </a:defRPr>
            </a:lvl8pPr>
            <a:lvl9pPr marL="25749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defRPr sz="700" i="1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 algn="ctr">
              <a:spcBef>
                <a:spcPts val="1200"/>
              </a:spcBef>
              <a:buClr>
                <a:prstClr val="white"/>
              </a:buClr>
              <a:buSzPct val="110000"/>
              <a:defRPr/>
            </a:pPr>
            <a:r>
              <a:rPr lang="en-US" sz="1400" kern="0" dirty="0" smtClean="0">
                <a:solidFill>
                  <a:prstClr val="white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	</a:t>
            </a:r>
            <a:r>
              <a:rPr lang="en-US" sz="1400" kern="0" dirty="0" smtClean="0">
                <a:solidFill>
                  <a:prstClr val="white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 multi-payer shared </a:t>
            </a:r>
            <a:r>
              <a:rPr lang="en-US" sz="1400" kern="0" dirty="0">
                <a:solidFill>
                  <a:prstClr val="white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</a:t>
            </a:r>
            <a:r>
              <a:rPr lang="en-US" sz="1400" kern="0" dirty="0" smtClean="0">
                <a:solidFill>
                  <a:prstClr val="white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re coordination tool </a:t>
            </a:r>
            <a:r>
              <a:rPr lang="en-US" sz="1400" kern="0" dirty="0">
                <a:solidFill>
                  <a:prstClr val="white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will </a:t>
            </a:r>
            <a:r>
              <a:rPr lang="en-US" sz="1400" kern="0" dirty="0" smtClean="0">
                <a:solidFill>
                  <a:prstClr val="white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llow </a:t>
            </a:r>
            <a:r>
              <a:rPr lang="en-US" sz="1400" kern="0" dirty="0">
                <a:solidFill>
                  <a:prstClr val="white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rimary care providers to </a:t>
            </a:r>
            <a:r>
              <a:rPr lang="en-US" sz="1400" kern="0" dirty="0" smtClean="0">
                <a:solidFill>
                  <a:prstClr val="white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implement </a:t>
            </a:r>
            <a:r>
              <a:rPr lang="en-US" sz="1400" kern="0" dirty="0">
                <a:solidFill>
                  <a:prstClr val="white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better care coordination in their offices. </a:t>
            </a:r>
            <a:endParaRPr lang="en-US" sz="1400" kern="0" dirty="0" smtClean="0">
              <a:solidFill>
                <a:prstClr val="white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3004593" y="1202534"/>
            <a:ext cx="841248" cy="228600"/>
          </a:xfrm>
          <a:prstGeom prst="roundRect">
            <a:avLst/>
          </a:prstGeom>
          <a:solidFill>
            <a:srgbClr val="1B365D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1200" b="1" kern="0" dirty="0" smtClean="0">
                <a:solidFill>
                  <a:prstClr val="white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ayer A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4028532" y="1202534"/>
            <a:ext cx="836543" cy="224833"/>
          </a:xfrm>
          <a:prstGeom prst="roundRect">
            <a:avLst/>
          </a:prstGeom>
          <a:solidFill>
            <a:srgbClr val="1B365D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1200" b="1" kern="0" dirty="0" smtClean="0">
                <a:solidFill>
                  <a:prstClr val="white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ayer C</a:t>
            </a:r>
          </a:p>
        </p:txBody>
      </p:sp>
      <p:sp>
        <p:nvSpPr>
          <p:cNvPr id="20" name="Rounded Rectangle 19"/>
          <p:cNvSpPr/>
          <p:nvPr/>
        </p:nvSpPr>
        <p:spPr>
          <a:xfrm>
            <a:off x="3518514" y="1501179"/>
            <a:ext cx="841248" cy="228600"/>
          </a:xfrm>
          <a:prstGeom prst="roundRect">
            <a:avLst/>
          </a:prstGeom>
          <a:solidFill>
            <a:srgbClr val="1B365D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1200" b="1" kern="0" dirty="0" smtClean="0">
                <a:solidFill>
                  <a:prstClr val="white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ayer B</a:t>
            </a:r>
          </a:p>
        </p:txBody>
      </p:sp>
      <p:sp>
        <p:nvSpPr>
          <p:cNvPr id="22" name="Rectangle 21"/>
          <p:cNvSpPr/>
          <p:nvPr/>
        </p:nvSpPr>
        <p:spPr>
          <a:xfrm>
            <a:off x="5009144" y="1120243"/>
            <a:ext cx="3651356" cy="2862322"/>
          </a:xfrm>
          <a:prstGeom prst="rect">
            <a:avLst/>
          </a:prstGeom>
          <a:solidFill>
            <a:srgbClr val="1B365D">
              <a:lumMod val="60000"/>
              <a:lumOff val="40000"/>
            </a:srgbClr>
          </a:solidFill>
          <a:ln w="12700">
            <a:solidFill>
              <a:sysClr val="window" lastClr="FFFFFF">
                <a:lumMod val="75000"/>
              </a:sysClr>
            </a:solidFill>
          </a:ln>
        </p:spPr>
        <p:txBody>
          <a:bodyPr wrap="square">
            <a:spAutoFit/>
          </a:bodyPr>
          <a:lstStyle/>
          <a:p>
            <a:pPr marL="285750" indent="-285750">
              <a:buClr>
                <a:prstClr val="white"/>
              </a:buClr>
              <a:buSzPct val="125000"/>
              <a:buFont typeface="Arial" panose="020B0604020202020204" pitchFamily="34" charset="0"/>
              <a:buChar char="•"/>
              <a:defRPr/>
            </a:pPr>
            <a:endParaRPr lang="en-US" sz="1200" kern="0" dirty="0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>
              <a:buClr>
                <a:prstClr val="white"/>
              </a:buClr>
              <a:buSzPct val="125000"/>
              <a:buFont typeface="Arial" panose="020B0604020202020204" pitchFamily="34" charset="0"/>
              <a:buChar char="•"/>
              <a:defRPr/>
            </a:pPr>
            <a:r>
              <a:rPr lang="en-US" sz="1200" kern="0" dirty="0" smtClean="0">
                <a:solidFill>
                  <a:prstClr val="white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llows practices to view their attributed member panel</a:t>
            </a:r>
          </a:p>
          <a:p>
            <a:pPr marL="285750" indent="-285750">
              <a:buClr>
                <a:prstClr val="white"/>
              </a:buClr>
              <a:buSzPct val="125000"/>
              <a:buFont typeface="Arial" panose="020B0604020202020204" pitchFamily="34" charset="0"/>
              <a:buChar char="•"/>
              <a:defRPr/>
            </a:pPr>
            <a:endParaRPr lang="en-US" sz="1200" kern="0" dirty="0">
              <a:solidFill>
                <a:prstClr val="white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285750" indent="-285750">
              <a:buClr>
                <a:prstClr val="white"/>
              </a:buClr>
              <a:buSzPct val="125000"/>
              <a:buFont typeface="Arial" panose="020B0604020202020204" pitchFamily="34" charset="0"/>
              <a:buChar char="•"/>
              <a:defRPr/>
            </a:pPr>
            <a:r>
              <a:rPr lang="en-US" sz="1200" kern="0" dirty="0">
                <a:solidFill>
                  <a:prstClr val="white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lerts providers of </a:t>
            </a:r>
            <a:r>
              <a:rPr lang="en-US" sz="1200" kern="0" dirty="0" smtClean="0">
                <a:solidFill>
                  <a:prstClr val="white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heir </a:t>
            </a:r>
            <a:r>
              <a:rPr lang="en-US" sz="1200" kern="0" dirty="0">
                <a:solidFill>
                  <a:prstClr val="white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ttributed members’ hospital admissions, discharges, and transfers (ADT feeds) and tracks follow-up activities</a:t>
            </a:r>
          </a:p>
          <a:p>
            <a:pPr marL="285750" indent="-285750">
              <a:buClr>
                <a:prstClr val="white"/>
              </a:buClr>
              <a:buSzPct val="125000"/>
              <a:buFont typeface="Arial" panose="020B0604020202020204" pitchFamily="34" charset="0"/>
              <a:buChar char="•"/>
              <a:defRPr/>
            </a:pPr>
            <a:endParaRPr lang="en-US" sz="1200" kern="0" dirty="0" smtClean="0">
              <a:solidFill>
                <a:prstClr val="white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285750" indent="-285750">
              <a:buClr>
                <a:prstClr val="white"/>
              </a:buClr>
              <a:buSzPct val="125000"/>
              <a:buFont typeface="Arial" panose="020B0604020202020204" pitchFamily="34" charset="0"/>
              <a:buChar char="•"/>
              <a:defRPr/>
            </a:pPr>
            <a:r>
              <a:rPr lang="en-US" sz="1200" kern="0" dirty="0" smtClean="0">
                <a:solidFill>
                  <a:prstClr val="white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Identifies a provider’s attributed members’ risk </a:t>
            </a:r>
            <a:r>
              <a:rPr lang="en-US" sz="1200" kern="0" dirty="0">
                <a:solidFill>
                  <a:prstClr val="white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cores </a:t>
            </a:r>
            <a:endParaRPr lang="en-US" sz="1200" kern="0" dirty="0" smtClean="0">
              <a:solidFill>
                <a:prstClr val="white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285750" indent="-285750">
              <a:buClr>
                <a:prstClr val="white"/>
              </a:buClr>
              <a:buSzPct val="125000"/>
              <a:buFont typeface="Arial" panose="020B0604020202020204" pitchFamily="34" charset="0"/>
              <a:buChar char="•"/>
              <a:defRPr/>
            </a:pPr>
            <a:endParaRPr lang="en-US" sz="1200" kern="0" dirty="0">
              <a:solidFill>
                <a:prstClr val="white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285750" indent="-285750">
              <a:buClr>
                <a:prstClr val="white"/>
              </a:buClr>
              <a:buSzPct val="125000"/>
              <a:buFont typeface="Arial" panose="020B0604020202020204" pitchFamily="34" charset="0"/>
              <a:buChar char="•"/>
              <a:defRPr/>
            </a:pPr>
            <a:r>
              <a:rPr lang="en-US" sz="1200" kern="0" dirty="0" smtClean="0">
                <a:solidFill>
                  <a:prstClr val="white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Generates </a:t>
            </a:r>
            <a:r>
              <a:rPr lang="en-US" sz="1200" kern="0" dirty="0">
                <a:solidFill>
                  <a:prstClr val="white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nd </a:t>
            </a:r>
            <a:r>
              <a:rPr lang="en-US" sz="1200" kern="0" dirty="0" smtClean="0">
                <a:solidFill>
                  <a:prstClr val="white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isplays </a:t>
            </a:r>
            <a:r>
              <a:rPr lang="en-US" sz="1200" kern="0" dirty="0">
                <a:solidFill>
                  <a:prstClr val="white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gaps-in-care </a:t>
            </a:r>
            <a:r>
              <a:rPr lang="en-US" sz="1200" kern="0" dirty="0" smtClean="0">
                <a:solidFill>
                  <a:prstClr val="white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based on quality measures and tracks completion of activities</a:t>
            </a:r>
          </a:p>
          <a:p>
            <a:pPr marL="285750" indent="-285750">
              <a:buClr>
                <a:prstClr val="white"/>
              </a:buClr>
              <a:buSzPct val="125000"/>
              <a:buFont typeface="Arial" panose="020B0604020202020204" pitchFamily="34" charset="0"/>
              <a:buChar char="•"/>
              <a:defRPr/>
            </a:pPr>
            <a:endParaRPr lang="en-US" sz="1200" kern="0" dirty="0">
              <a:solidFill>
                <a:prstClr val="white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3627545" y="2594119"/>
            <a:ext cx="125136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i="1" dirty="0" smtClean="0">
                <a:solidFill>
                  <a:srgbClr val="FF0F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 Claims data </a:t>
            </a:r>
          </a:p>
          <a:p>
            <a:r>
              <a:rPr lang="en-US" sz="1200" b="1" i="1" dirty="0" smtClean="0">
                <a:solidFill>
                  <a:srgbClr val="FF0F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&amp; Attribution </a:t>
            </a:r>
            <a:endParaRPr lang="en-US" sz="1200" b="1" i="1" dirty="0">
              <a:solidFill>
                <a:srgbClr val="FF0F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-10340" y="20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i="0" kern="1200">
                <a:solidFill>
                  <a:schemeClr val="tx2"/>
                </a:solidFill>
                <a:latin typeface="PermianSlabSerifTypeface"/>
                <a:ea typeface="Open Sans Light" panose="020B0306030504020204" pitchFamily="34" charset="0"/>
                <a:cs typeface="PermianSlabSerifTypeface"/>
              </a:defRPr>
            </a:lvl1pPr>
          </a:lstStyle>
          <a:p>
            <a:pPr>
              <a:defRPr/>
            </a:pPr>
            <a:r>
              <a:rPr lang="en-US" sz="2400" dirty="0" smtClean="0">
                <a:solidFill>
                  <a:srgbClr val="192246"/>
                </a:solidFill>
                <a:latin typeface="Georgia" panose="02040502050405020303" pitchFamily="18" charset="0"/>
                <a:ea typeface="Open Sans" panose="020B0606030504020204" pitchFamily="34" charset="0"/>
                <a:cs typeface="Open Sans" panose="020B0606030504020204" pitchFamily="34" charset="0"/>
              </a:rPr>
              <a:t>Care Coordination Tool</a:t>
            </a:r>
            <a:endParaRPr lang="en-US" sz="2400" dirty="0">
              <a:solidFill>
                <a:srgbClr val="192246"/>
              </a:solidFill>
              <a:latin typeface="Georgia" panose="02040502050405020303" pitchFamily="18" charset="0"/>
            </a:endParaRPr>
          </a:p>
        </p:txBody>
      </p:sp>
      <p:cxnSp>
        <p:nvCxnSpPr>
          <p:cNvPr id="25" name="Straight Arrow Connector 24"/>
          <p:cNvCxnSpPr>
            <a:stCxn id="7" idx="3"/>
          </p:cNvCxnSpPr>
          <p:nvPr/>
        </p:nvCxnSpPr>
        <p:spPr>
          <a:xfrm>
            <a:off x="1460961" y="1631791"/>
            <a:ext cx="584702" cy="257594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tailEnd type="arrow"/>
          </a:ln>
          <a:effectLst/>
        </p:spPr>
      </p:cxnSp>
      <p:cxnSp>
        <p:nvCxnSpPr>
          <p:cNvPr id="26" name="Straight Arrow Connector 25"/>
          <p:cNvCxnSpPr>
            <a:stCxn id="39" idx="3"/>
          </p:cNvCxnSpPr>
          <p:nvPr/>
        </p:nvCxnSpPr>
        <p:spPr>
          <a:xfrm>
            <a:off x="1465095" y="2007926"/>
            <a:ext cx="481075" cy="26850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tailEnd type="arrow"/>
          </a:ln>
          <a:effectLst/>
        </p:spPr>
      </p:cxnSp>
      <p:cxnSp>
        <p:nvCxnSpPr>
          <p:cNvPr id="27" name="Straight Arrow Connector 26"/>
          <p:cNvCxnSpPr/>
          <p:nvPr/>
        </p:nvCxnSpPr>
        <p:spPr>
          <a:xfrm flipV="1">
            <a:off x="1505133" y="2270988"/>
            <a:ext cx="417771" cy="114298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tailEnd type="arrow"/>
          </a:ln>
          <a:effectLst/>
        </p:spPr>
      </p:cxnSp>
      <p:cxnSp>
        <p:nvCxnSpPr>
          <p:cNvPr id="28" name="Straight Arrow Connector 27"/>
          <p:cNvCxnSpPr>
            <a:stCxn id="9" idx="3"/>
          </p:cNvCxnSpPr>
          <p:nvPr/>
        </p:nvCxnSpPr>
        <p:spPr>
          <a:xfrm flipV="1">
            <a:off x="1477048" y="2412770"/>
            <a:ext cx="649193" cy="315418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tailEnd type="arrow"/>
          </a:ln>
          <a:effectLst/>
        </p:spPr>
      </p:cxnSp>
      <p:cxnSp>
        <p:nvCxnSpPr>
          <p:cNvPr id="30" name="Straight Arrow Connector 29"/>
          <p:cNvCxnSpPr>
            <a:endCxn id="15" idx="0"/>
          </p:cNvCxnSpPr>
          <p:nvPr/>
        </p:nvCxnSpPr>
        <p:spPr>
          <a:xfrm flipH="1">
            <a:off x="1663893" y="4309301"/>
            <a:ext cx="337342" cy="532387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headEnd type="arrow"/>
            <a:tailEnd type="arrow"/>
          </a:ln>
          <a:effectLst/>
        </p:spPr>
      </p:cxnSp>
      <p:cxnSp>
        <p:nvCxnSpPr>
          <p:cNvPr id="31" name="Straight Arrow Connector 30"/>
          <p:cNvCxnSpPr/>
          <p:nvPr/>
        </p:nvCxnSpPr>
        <p:spPr>
          <a:xfrm flipH="1">
            <a:off x="1885245" y="4309301"/>
            <a:ext cx="446188" cy="1111588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headEnd type="arrow"/>
            <a:tailEnd type="arrow"/>
          </a:ln>
          <a:effectLst/>
        </p:spPr>
      </p:cxnSp>
      <p:cxnSp>
        <p:nvCxnSpPr>
          <p:cNvPr id="32" name="Straight Arrow Connector 31"/>
          <p:cNvCxnSpPr/>
          <p:nvPr/>
        </p:nvCxnSpPr>
        <p:spPr>
          <a:xfrm>
            <a:off x="3202092" y="4309301"/>
            <a:ext cx="238664" cy="475258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headEnd type="arrow"/>
            <a:tailEnd type="arrow"/>
          </a:ln>
          <a:effectLst/>
        </p:spPr>
      </p:cxnSp>
      <p:cxnSp>
        <p:nvCxnSpPr>
          <p:cNvPr id="33" name="Straight Arrow Connector 32"/>
          <p:cNvCxnSpPr/>
          <p:nvPr/>
        </p:nvCxnSpPr>
        <p:spPr>
          <a:xfrm>
            <a:off x="2903284" y="4430070"/>
            <a:ext cx="371341" cy="990819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headEnd type="arrow"/>
            <a:tailEnd type="arrow"/>
          </a:ln>
          <a:effectLst/>
        </p:spPr>
      </p:cxnSp>
      <p:sp>
        <p:nvSpPr>
          <p:cNvPr id="34" name="Oval 33"/>
          <p:cNvSpPr/>
          <p:nvPr/>
        </p:nvSpPr>
        <p:spPr>
          <a:xfrm>
            <a:off x="2013801" y="4947428"/>
            <a:ext cx="1290648" cy="493489"/>
          </a:xfrm>
          <a:prstGeom prst="ellipse">
            <a:avLst/>
          </a:prstGeom>
          <a:solidFill>
            <a:srgbClr val="1B365D">
              <a:lumMod val="60000"/>
              <a:lumOff val="40000"/>
            </a:srgbClr>
          </a:solidFill>
          <a:ln w="1905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1050" b="1" kern="0" dirty="0" smtClean="0">
                <a:solidFill>
                  <a:srgbClr val="EEECE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ennessee Health Link </a:t>
            </a:r>
            <a:endParaRPr lang="en-US" sz="1050" b="1" kern="0" dirty="0">
              <a:solidFill>
                <a:srgbClr val="EEECE1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4846" y="4284820"/>
            <a:ext cx="3619952" cy="2028136"/>
          </a:xfrm>
          <a:prstGeom prst="rect">
            <a:avLst/>
          </a:prstGeom>
        </p:spPr>
      </p:pic>
      <p:sp>
        <p:nvSpPr>
          <p:cNvPr id="36" name="Slide Number Placeholder 1"/>
          <p:cNvSpPr txBox="1">
            <a:spLocks/>
          </p:cNvSpPr>
          <p:nvPr/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9" name="Rounded Rectangle 38"/>
          <p:cNvSpPr/>
          <p:nvPr/>
        </p:nvSpPr>
        <p:spPr>
          <a:xfrm>
            <a:off x="130537" y="1877483"/>
            <a:ext cx="1334558" cy="260886"/>
          </a:xfrm>
          <a:prstGeom prst="roundRect">
            <a:avLst/>
          </a:prstGeom>
          <a:solidFill>
            <a:srgbClr val="1B365D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r>
              <a:rPr lang="en-US" sz="1200" b="1" kern="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spital C</a:t>
            </a:r>
          </a:p>
        </p:txBody>
      </p:sp>
      <p:sp>
        <p:nvSpPr>
          <p:cNvPr id="38" name="Oval 37"/>
          <p:cNvSpPr/>
          <p:nvPr/>
        </p:nvSpPr>
        <p:spPr>
          <a:xfrm>
            <a:off x="3440152" y="1963897"/>
            <a:ext cx="997972" cy="518595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e</a:t>
            </a:r>
          </a:p>
          <a:p>
            <a:pPr algn="ctr"/>
            <a:r>
              <a:rPr lang="en-US" sz="8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Health</a:t>
            </a:r>
          </a:p>
          <a:p>
            <a:pPr algn="ctr"/>
            <a:r>
              <a:rPr lang="en-US" sz="8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on</a:t>
            </a:r>
            <a:endParaRPr lang="en-US" sz="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Oval 61"/>
          <p:cNvSpPr/>
          <p:nvPr/>
        </p:nvSpPr>
        <p:spPr>
          <a:xfrm>
            <a:off x="1946170" y="1894175"/>
            <a:ext cx="997972" cy="518595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e</a:t>
            </a:r>
          </a:p>
          <a:p>
            <a:pPr algn="ctr"/>
            <a:r>
              <a:rPr lang="en-US" sz="8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Health</a:t>
            </a:r>
          </a:p>
          <a:p>
            <a:pPr algn="ctr"/>
            <a:r>
              <a:rPr lang="en-US" sz="8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ion</a:t>
            </a:r>
            <a:endParaRPr lang="en-US" sz="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1" name="Straight Arrow Connector 70"/>
          <p:cNvCxnSpPr/>
          <p:nvPr/>
        </p:nvCxnSpPr>
        <p:spPr>
          <a:xfrm flipH="1">
            <a:off x="2400386" y="2482492"/>
            <a:ext cx="44770" cy="497656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>
            <a:endCxn id="38" idx="0"/>
          </p:cNvCxnSpPr>
          <p:nvPr/>
        </p:nvCxnSpPr>
        <p:spPr>
          <a:xfrm flipH="1">
            <a:off x="3939138" y="1762234"/>
            <a:ext cx="43935" cy="201663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4006020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8" name="Object 6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540" y="406"/>
          <a:ext cx="161964" cy="1619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0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40" y="406"/>
                        <a:ext cx="161964" cy="1619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/>
          <p:cNvSpPr>
            <a:spLocks/>
          </p:cNvSpPr>
          <p:nvPr/>
        </p:nvSpPr>
        <p:spPr>
          <a:xfrm>
            <a:off x="416296" y="685800"/>
            <a:ext cx="8575303" cy="544644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0" tIns="46646" rIns="93290" bIns="4664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200" dirty="0" err="1">
              <a:solidFill>
                <a:srgbClr val="7E7E82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1" name="Title 1"/>
          <p:cNvSpPr>
            <a:spLocks noGrp="1"/>
          </p:cNvSpPr>
          <p:nvPr>
            <p:ph type="title"/>
          </p:nvPr>
        </p:nvSpPr>
        <p:spPr>
          <a:xfrm>
            <a:off x="145002" y="153433"/>
            <a:ext cx="8467165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57200">
              <a:tabLst>
                <a:tab pos="274638" algn="l"/>
              </a:tabLst>
            </a:pPr>
            <a:r>
              <a:rPr lang="en-US" sz="2400" dirty="0" smtClean="0">
                <a:latin typeface="Georgia" panose="02040502050405020303" pitchFamily="18" charset="0"/>
              </a:rPr>
              <a:t>PCMH Payment Model Overview</a:t>
            </a:r>
            <a:endParaRPr lang="en-US" sz="2000" i="1" dirty="0">
              <a:latin typeface="Georgia" panose="02040502050405020303" pitchFamily="18" charset="0"/>
            </a:endParaRPr>
          </a:p>
        </p:txBody>
      </p:sp>
      <p:cxnSp>
        <p:nvCxnSpPr>
          <p:cNvPr id="41" name="Straight Connector 40"/>
          <p:cNvCxnSpPr>
            <a:cxnSpLocks/>
          </p:cNvCxnSpPr>
          <p:nvPr/>
        </p:nvCxnSpPr>
        <p:spPr bwMode="auto">
          <a:xfrm>
            <a:off x="2310884" y="2057400"/>
            <a:ext cx="6376235" cy="27709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ysDot"/>
          </a:ln>
          <a:effectLst/>
          <a:extLst/>
        </p:spPr>
      </p:cxnSp>
      <p:cxnSp>
        <p:nvCxnSpPr>
          <p:cNvPr id="46" name="Straight Connector 45"/>
          <p:cNvCxnSpPr>
            <a:cxnSpLocks/>
          </p:cNvCxnSpPr>
          <p:nvPr/>
        </p:nvCxnSpPr>
        <p:spPr bwMode="auto">
          <a:xfrm>
            <a:off x="2240326" y="4343400"/>
            <a:ext cx="6524430" cy="8245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ysDot"/>
          </a:ln>
          <a:effectLst/>
          <a:extLst/>
        </p:spPr>
      </p:cxnSp>
      <p:sp>
        <p:nvSpPr>
          <p:cNvPr id="53" name="TextBox 12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08044" y="4409740"/>
            <a:ext cx="1698243" cy="1625909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164571" tIns="45714" rIns="45714" bIns="45714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defTabSz="895350" eaLnBrk="1" fontAlgn="t" hangingPunct="1">
              <a:buClr>
                <a:schemeClr val="tx2"/>
              </a:buClr>
              <a:defRPr sz="1200" b="1">
                <a:solidFill>
                  <a:schemeClr val="bg1"/>
                </a:solidFill>
                <a:latin typeface="+mn-lt"/>
              </a:defRPr>
            </a:lvl1pPr>
            <a:lvl2pPr marL="1587" lvl="1" indent="0" defTabSz="895350" eaLnBrk="1" hangingPunct="1">
              <a:buClr>
                <a:schemeClr val="accent4"/>
              </a:buClr>
              <a:buSzPct val="125000"/>
              <a:buFont typeface="Arial" charset="0"/>
              <a:buNone/>
              <a:defRPr sz="1300" b="1">
                <a:solidFill>
                  <a:schemeClr val="bg1"/>
                </a:solidFill>
                <a:latin typeface="Open Sans"/>
                <a:ea typeface="Open Sans"/>
                <a:cs typeface="Open Sans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lvl="1" fontAlgn="base">
              <a:spcBef>
                <a:spcPct val="0"/>
              </a:spcBef>
              <a:spcAft>
                <a:spcPct val="0"/>
              </a:spcAft>
              <a:buClr>
                <a:srgbClr val="E87722"/>
              </a:buClr>
            </a:pPr>
            <a:r>
              <a:rPr lang="en-US" sz="1400" dirty="0" smtClean="0">
                <a:solidFill>
                  <a:srgbClr val="FFFFFF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Outcome</a:t>
            </a:r>
          </a:p>
          <a:p>
            <a:pPr marL="0" lvl="1" fontAlgn="base">
              <a:spcBef>
                <a:spcPct val="0"/>
              </a:spcBef>
              <a:spcAft>
                <a:spcPct val="0"/>
              </a:spcAft>
              <a:buClr>
                <a:srgbClr val="E87722"/>
              </a:buClr>
            </a:pPr>
            <a:r>
              <a:rPr lang="en-US" sz="1400" dirty="0">
                <a:solidFill>
                  <a:srgbClr val="FFFFFF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P</a:t>
            </a:r>
            <a:r>
              <a:rPr lang="en-US" sz="1400" dirty="0" smtClean="0">
                <a:solidFill>
                  <a:srgbClr val="FFFFFF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ayment</a:t>
            </a:r>
            <a:endParaRPr lang="en-US" sz="1400" dirty="0">
              <a:solidFill>
                <a:srgbClr val="FFFFFF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7" name="Rectangle 5"/>
          <p:cNvSpPr txBox="1">
            <a:spLocks/>
          </p:cNvSpPr>
          <p:nvPr/>
        </p:nvSpPr>
        <p:spPr>
          <a:xfrm>
            <a:off x="2208861" y="696807"/>
            <a:ext cx="1518372" cy="233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8286" numCol="1" anchor="b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r" defTabSz="895350">
              <a:buClr>
                <a:schemeClr val="tx2"/>
              </a:buClr>
              <a:buSzPct val="89000"/>
              <a:buFont typeface="Arial" charset="0"/>
              <a:defRPr sz="700" i="1">
                <a:latin typeface="+mn-lt"/>
              </a:defRPr>
            </a:lvl5pPr>
            <a:lvl6pPr marL="12033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latin typeface="+mn-lt"/>
              </a:defRPr>
            </a:lvl6pPr>
            <a:lvl7pPr marL="16605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latin typeface="+mn-lt"/>
              </a:defRPr>
            </a:lvl7pPr>
            <a:lvl8pPr marL="21177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latin typeface="+mn-lt"/>
              </a:defRPr>
            </a:lvl8pPr>
            <a:lvl9pPr marL="25749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FF0F00"/>
              </a:buClr>
            </a:pPr>
            <a:r>
              <a:rPr lang="en-US" sz="1400" b="1" dirty="0">
                <a:solidFill>
                  <a:srgbClr val="1B365D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Objective</a:t>
            </a:r>
          </a:p>
        </p:txBody>
      </p:sp>
      <p:sp>
        <p:nvSpPr>
          <p:cNvPr id="62" name="Rectangle 5"/>
          <p:cNvSpPr txBox="1">
            <a:spLocks/>
          </p:cNvSpPr>
          <p:nvPr/>
        </p:nvSpPr>
        <p:spPr>
          <a:xfrm>
            <a:off x="5377353" y="685800"/>
            <a:ext cx="1778110" cy="233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8286" numCol="1" anchor="b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r" defTabSz="895350">
              <a:buClr>
                <a:schemeClr val="tx2"/>
              </a:buClr>
              <a:buSzPct val="89000"/>
              <a:buFont typeface="Arial" charset="0"/>
              <a:defRPr sz="700" i="1">
                <a:latin typeface="+mn-lt"/>
              </a:defRPr>
            </a:lvl5pPr>
            <a:lvl6pPr marL="12033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latin typeface="+mn-lt"/>
              </a:defRPr>
            </a:lvl6pPr>
            <a:lvl7pPr marL="16605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latin typeface="+mn-lt"/>
              </a:defRPr>
            </a:lvl7pPr>
            <a:lvl8pPr marL="21177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latin typeface="+mn-lt"/>
              </a:defRPr>
            </a:lvl8pPr>
            <a:lvl9pPr marL="25749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FF0F00"/>
              </a:buClr>
            </a:pPr>
            <a:r>
              <a:rPr lang="en-US" sz="1400" b="1" dirty="0">
                <a:solidFill>
                  <a:srgbClr val="1B365D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Payment</a:t>
            </a:r>
          </a:p>
        </p:txBody>
      </p:sp>
      <p:sp>
        <p:nvSpPr>
          <p:cNvPr id="48" name="TextBox 1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94178" y="2106310"/>
            <a:ext cx="1698244" cy="2225440"/>
          </a:xfrm>
          <a:prstGeom prst="rect">
            <a:avLst/>
          </a:prstGeom>
          <a:solidFill>
            <a:srgbClr val="0070C0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164571" tIns="45714" rIns="45714" bIns="45714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defTabSz="895350" eaLnBrk="1" fontAlgn="t" hangingPunct="1">
              <a:buClr>
                <a:schemeClr val="tx2"/>
              </a:buClr>
              <a:defRPr sz="1200" b="1">
                <a:solidFill>
                  <a:schemeClr val="bg1"/>
                </a:solidFill>
                <a:latin typeface="+mn-lt"/>
              </a:defRPr>
            </a:lvl1pPr>
            <a:lvl2pPr marL="1587" lvl="1" indent="0" defTabSz="895350" eaLnBrk="1" hangingPunct="1">
              <a:buClr>
                <a:schemeClr val="accent4"/>
              </a:buClr>
              <a:buSzPct val="125000"/>
              <a:buFont typeface="Arial" charset="0"/>
              <a:buNone/>
              <a:defRPr sz="1300" b="1">
                <a:solidFill>
                  <a:schemeClr val="bg1"/>
                </a:solidFill>
                <a:latin typeface="Open Sans"/>
                <a:ea typeface="Open Sans"/>
                <a:cs typeface="Open Sans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lvl="1" fontAlgn="base">
              <a:spcBef>
                <a:spcPct val="0"/>
              </a:spcBef>
              <a:spcAft>
                <a:spcPct val="0"/>
              </a:spcAft>
              <a:buClr>
                <a:srgbClr val="E87722"/>
              </a:buClr>
            </a:pPr>
            <a:r>
              <a:rPr lang="en-US" sz="1400" dirty="0" smtClean="0">
                <a:solidFill>
                  <a:srgbClr val="FFFFFF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Activity Payment</a:t>
            </a:r>
            <a:endParaRPr lang="en-US" sz="1400" dirty="0">
              <a:solidFill>
                <a:srgbClr val="FFFFFF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7" name="TextBox 12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94178" y="984448"/>
            <a:ext cx="1698244" cy="1068661"/>
          </a:xfrm>
          <a:prstGeom prst="rect">
            <a:avLst/>
          </a:prstGeom>
          <a:solidFill>
            <a:srgbClr val="1B365D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164571" tIns="45714" rIns="45714" bIns="45714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defTabSz="895350" eaLnBrk="1" fontAlgn="t" hangingPunct="1">
              <a:buClr>
                <a:schemeClr val="tx2"/>
              </a:buClr>
              <a:defRPr sz="1200" b="1">
                <a:solidFill>
                  <a:schemeClr val="bg1"/>
                </a:solidFill>
                <a:latin typeface="+mn-lt"/>
              </a:defRPr>
            </a:lvl1pPr>
            <a:lvl2pPr marL="1587" lvl="1" indent="0" defTabSz="895350" eaLnBrk="1" hangingPunct="1">
              <a:buClr>
                <a:schemeClr val="accent4"/>
              </a:buClr>
              <a:buSzPct val="125000"/>
              <a:buFont typeface="Arial" charset="0"/>
              <a:buNone/>
              <a:defRPr sz="1300" b="1">
                <a:solidFill>
                  <a:schemeClr val="bg1"/>
                </a:solidFill>
                <a:latin typeface="Open Sans"/>
                <a:ea typeface="Open Sans"/>
                <a:cs typeface="Open Sans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lvl="1" fontAlgn="base">
              <a:spcBef>
                <a:spcPct val="0"/>
              </a:spcBef>
              <a:spcAft>
                <a:spcPct val="0"/>
              </a:spcAft>
              <a:buClr>
                <a:srgbClr val="E87722"/>
              </a:buClr>
            </a:pPr>
            <a:r>
              <a:rPr lang="en-US" sz="1400" dirty="0">
                <a:solidFill>
                  <a:srgbClr val="FFFFFF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Practice T</a:t>
            </a:r>
            <a:r>
              <a:rPr lang="en-US" sz="1400" dirty="0" smtClean="0">
                <a:solidFill>
                  <a:srgbClr val="FFFFFF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ransformation</a:t>
            </a:r>
          </a:p>
          <a:p>
            <a:pPr marL="0" lvl="1" fontAlgn="base">
              <a:spcBef>
                <a:spcPct val="0"/>
              </a:spcBef>
              <a:spcAft>
                <a:spcPct val="0"/>
              </a:spcAft>
              <a:buClr>
                <a:srgbClr val="E87722"/>
              </a:buClr>
            </a:pPr>
            <a:r>
              <a:rPr lang="en-US" sz="1400" dirty="0" smtClean="0">
                <a:solidFill>
                  <a:srgbClr val="FFFFFF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Payment </a:t>
            </a:r>
            <a:endParaRPr lang="en-US" sz="1400" dirty="0">
              <a:solidFill>
                <a:srgbClr val="FFFFFF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2264135" y="4497900"/>
            <a:ext cx="2866345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393700" lvl="2" indent="-195263" defTabSz="913526" eaLnBrk="1" hangingPunct="1">
              <a:buClr>
                <a:schemeClr val="tx2"/>
              </a:buClr>
              <a:buSzPct val="120000"/>
              <a:buFont typeface="Arial" pitchFamily="34" charset="0"/>
              <a:buChar char="–"/>
              <a:defRPr baseline="0">
                <a:latin typeface="+mn-lt"/>
              </a:defRPr>
            </a:lvl3pPr>
            <a:lvl4pPr marL="625475" lvl="3" indent="-222250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Open Sans" pitchFamily="34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FF0F00"/>
              </a:buClr>
            </a:pPr>
            <a:r>
              <a:rPr lang="en-US" sz="1300" dirty="0" smtClean="0">
                <a:solidFill>
                  <a:srgbClr val="7E7E82">
                    <a:lumMod val="50000"/>
                  </a:srgb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Encourage improvements in total-cost-of care and clinical outcomes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FF0F00"/>
              </a:buClr>
            </a:pPr>
            <a:r>
              <a:rPr lang="en-US" sz="1300" dirty="0" smtClean="0">
                <a:solidFill>
                  <a:srgbClr val="7E7E82">
                    <a:lumMod val="50000"/>
                  </a:srgb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Reward high quality providers </a:t>
            </a:r>
            <a:endParaRPr lang="en-US" sz="1300" dirty="0">
              <a:solidFill>
                <a:srgbClr val="7E7E82">
                  <a:lumMod val="50000"/>
                </a:srgb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73" name="Group 72"/>
          <p:cNvGrpSpPr>
            <a:grpSpLocks/>
          </p:cNvGrpSpPr>
          <p:nvPr/>
        </p:nvGrpSpPr>
        <p:grpSpPr>
          <a:xfrm>
            <a:off x="2264135" y="2337506"/>
            <a:ext cx="6348032" cy="1800493"/>
            <a:chOff x="1737613" y="2330551"/>
            <a:chExt cx="6348032" cy="1800493"/>
          </a:xfrm>
        </p:grpSpPr>
        <p:sp>
          <p:nvSpPr>
            <p:cNvPr id="24" name="TextBox 23"/>
            <p:cNvSpPr txBox="1">
              <a:spLocks/>
            </p:cNvSpPr>
            <p:nvPr/>
          </p:nvSpPr>
          <p:spPr>
            <a:xfrm>
              <a:off x="4887422" y="2330551"/>
              <a:ext cx="3198223" cy="16004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393700" lvl="2" indent="-195263" defTabSz="913526" eaLnBrk="1" hangingPunct="1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baseline="0">
                  <a:latin typeface="+mn-lt"/>
                </a:defRPr>
              </a:lvl3pPr>
              <a:lvl4pPr marL="625475" lvl="3" indent="-222250" defTabSz="913526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Open Sans" pitchFamily="34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300" dirty="0" smtClean="0">
                  <a:solidFill>
                    <a:srgbClr val="7E7E82">
                      <a:lumMod val="50000"/>
                    </a:srgbClr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Risk-adjusted PMPM payment</a:t>
              </a:r>
            </a:p>
            <a:p>
              <a:pPr lvl="1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300" dirty="0" smtClean="0">
                  <a:solidFill>
                    <a:srgbClr val="7E7E82">
                      <a:lumMod val="50000"/>
                    </a:srgbClr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Each PCMH will be assigned to a risk band based on the acuity of their membership</a:t>
              </a:r>
            </a:p>
            <a:p>
              <a:pPr lvl="1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300" dirty="0" smtClean="0">
                  <a:solidFill>
                    <a:srgbClr val="7E7E82">
                      <a:lumMod val="50000"/>
                    </a:srgbClr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MCOs will set payment levels for these bands, but average payment across all practices will be $4 PMPM</a:t>
              </a:r>
            </a:p>
            <a:p>
              <a:pPr lvl="1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endParaRPr lang="en-US" sz="1300" dirty="0">
                <a:solidFill>
                  <a:srgbClr val="7E7E82"/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1737613" y="2330551"/>
              <a:ext cx="2866345" cy="18004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393700" lvl="2" indent="-195263" defTabSz="913526" eaLnBrk="1" hangingPunct="1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baseline="0">
                  <a:latin typeface="+mn-lt"/>
                </a:defRPr>
              </a:lvl3pPr>
              <a:lvl4pPr marL="625475" lvl="3" indent="-222250" defTabSz="913526" eaLnBrk="1" hangingPunct="1">
                <a:buClr>
                  <a:schemeClr val="tx2"/>
                </a:buClr>
                <a:buSzPct val="100000"/>
                <a:buFont typeface="Arial" pitchFamily="34" charset="0"/>
                <a:buChar char="•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Open Sans" pitchFamily="34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300" dirty="0">
                  <a:solidFill>
                    <a:srgbClr val="7E7E82">
                      <a:lumMod val="50000"/>
                    </a:srgbClr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S</a:t>
              </a:r>
              <a:r>
                <a:rPr lang="en-US" sz="1300" dirty="0" smtClean="0">
                  <a:solidFill>
                    <a:srgbClr val="7E7E82">
                      <a:lumMod val="50000"/>
                    </a:srgbClr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upport </a:t>
              </a:r>
              <a:r>
                <a:rPr lang="en-US" sz="1300" dirty="0">
                  <a:solidFill>
                    <a:srgbClr val="7E7E82">
                      <a:lumMod val="50000"/>
                    </a:srgbClr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practices for the labor and time required to evolve their care delivery models. Practices may hire new staff (e.g., care coordinators) or change responsibilities for existing staff to support </a:t>
              </a:r>
              <a:r>
                <a:rPr lang="en-US" sz="1300" dirty="0" smtClean="0">
                  <a:solidFill>
                    <a:srgbClr val="7E7E82">
                      <a:lumMod val="50000"/>
                    </a:srgbClr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practice transformation. </a:t>
              </a:r>
            </a:p>
            <a:p>
              <a:pPr lvl="1" fontAlgn="base">
                <a:spcBef>
                  <a:spcPct val="0"/>
                </a:spcBef>
                <a:spcAft>
                  <a:spcPct val="0"/>
                </a:spcAft>
                <a:buClr>
                  <a:srgbClr val="FF0F00"/>
                </a:buClr>
              </a:pPr>
              <a:r>
                <a:rPr lang="en-US" sz="1300" dirty="0" smtClean="0">
                  <a:solidFill>
                    <a:srgbClr val="7E7E82">
                      <a:lumMod val="50000"/>
                    </a:srgbClr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Incentivize ongoing activity requirements </a:t>
              </a:r>
              <a:endParaRPr lang="en-US" sz="1300" dirty="0">
                <a:solidFill>
                  <a:srgbClr val="7E7E82">
                    <a:lumMod val="50000"/>
                  </a:srgbClr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39" name="TextBox 38"/>
          <p:cNvSpPr txBox="1"/>
          <p:nvPr/>
        </p:nvSpPr>
        <p:spPr>
          <a:xfrm>
            <a:off x="2264135" y="1144071"/>
            <a:ext cx="286634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393700" lvl="2" indent="-195263" defTabSz="913526" eaLnBrk="1" hangingPunct="1">
              <a:buClr>
                <a:schemeClr val="tx2"/>
              </a:buClr>
              <a:buSzPct val="120000"/>
              <a:buFont typeface="Arial" pitchFamily="34" charset="0"/>
              <a:buChar char="–"/>
              <a:defRPr baseline="0">
                <a:latin typeface="+mn-lt"/>
              </a:defRPr>
            </a:lvl3pPr>
            <a:lvl4pPr marL="625475" lvl="3" indent="-222250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Open Sans" pitchFamily="34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FF0F00"/>
              </a:buClr>
            </a:pPr>
            <a:r>
              <a:rPr lang="en-US" sz="1300" dirty="0" smtClean="0">
                <a:solidFill>
                  <a:srgbClr val="7E7E82">
                    <a:lumMod val="50000"/>
                  </a:srgb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Support initial investment in practice transformation</a:t>
            </a:r>
            <a:endParaRPr lang="en-US" sz="1300" dirty="0">
              <a:solidFill>
                <a:srgbClr val="7E7E82">
                  <a:lumMod val="50000"/>
                </a:srgb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5377353" y="1052836"/>
            <a:ext cx="3442098" cy="1000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393700" lvl="2" indent="-195263" defTabSz="913526" eaLnBrk="1" hangingPunct="1">
              <a:buClr>
                <a:schemeClr val="tx2"/>
              </a:buClr>
              <a:buSzPct val="120000"/>
              <a:buFont typeface="Arial" pitchFamily="34" charset="0"/>
              <a:buChar char="–"/>
              <a:defRPr baseline="0">
                <a:latin typeface="+mn-lt"/>
              </a:defRPr>
            </a:lvl3pPr>
            <a:lvl4pPr marL="625475" lvl="3" indent="-222250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Open Sans" pitchFamily="34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FF0F00"/>
              </a:buClr>
            </a:pPr>
            <a:r>
              <a:rPr lang="en-US" sz="1300" dirty="0" smtClean="0">
                <a:solidFill>
                  <a:srgbClr val="7E7E82">
                    <a:lumMod val="50000"/>
                  </a:srgb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$1 per member per month (PMPM) payment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FF0F00"/>
              </a:buClr>
            </a:pPr>
            <a:r>
              <a:rPr lang="en-US" sz="1300" dirty="0">
                <a:solidFill>
                  <a:srgbClr val="7E7E82">
                    <a:lumMod val="50000"/>
                  </a:srgb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N</a:t>
            </a:r>
            <a:r>
              <a:rPr lang="en-US" sz="1300" dirty="0" smtClean="0">
                <a:solidFill>
                  <a:srgbClr val="7E7E82">
                    <a:lumMod val="50000"/>
                  </a:srgb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ot risk adjusted 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FF0F00"/>
              </a:buClr>
            </a:pPr>
            <a:r>
              <a:rPr lang="en-US" sz="1300" dirty="0" smtClean="0">
                <a:solidFill>
                  <a:srgbClr val="7E7E82">
                    <a:lumMod val="50000"/>
                  </a:srgb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Each practice will receive this payment for their first year of participation </a:t>
            </a:r>
            <a:endParaRPr lang="en-US" sz="1300" dirty="0">
              <a:solidFill>
                <a:srgbClr val="7E7E82">
                  <a:lumMod val="50000"/>
                </a:srgb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5" name="TextBox 54"/>
          <p:cNvSpPr txBox="1">
            <a:spLocks/>
          </p:cNvSpPr>
          <p:nvPr/>
        </p:nvSpPr>
        <p:spPr>
          <a:xfrm>
            <a:off x="5377353" y="4409741"/>
            <a:ext cx="3177273" cy="18004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393700" lvl="2" indent="-195263" defTabSz="913526" eaLnBrk="1" hangingPunct="1">
              <a:buClr>
                <a:schemeClr val="tx2"/>
              </a:buClr>
              <a:buSzPct val="120000"/>
              <a:buFont typeface="Arial" pitchFamily="34" charset="0"/>
              <a:buChar char="–"/>
              <a:defRPr baseline="0">
                <a:latin typeface="+mn-lt"/>
              </a:defRPr>
            </a:lvl3pPr>
            <a:lvl4pPr marL="625475" lvl="3" indent="-222250" defTabSz="913526" eaLnBrk="1" hangingPunct="1">
              <a:buClr>
                <a:schemeClr val="tx2"/>
              </a:buClr>
              <a:buSzPct val="100000"/>
              <a:buFont typeface="Arial" pitchFamily="34" charset="0"/>
              <a:buChar char="•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Open Sans" pitchFamily="34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FF0F00"/>
              </a:buClr>
            </a:pPr>
            <a:r>
              <a:rPr lang="en-US" sz="1300" dirty="0" smtClean="0">
                <a:solidFill>
                  <a:srgbClr val="7E7E82">
                    <a:lumMod val="50000"/>
                  </a:srgb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Annual bonus payment available to high performing PCMHs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FF0F00"/>
              </a:buClr>
            </a:pPr>
            <a:r>
              <a:rPr lang="en-US" sz="1300" dirty="0">
                <a:solidFill>
                  <a:srgbClr val="7E7E82">
                    <a:lumMod val="50000"/>
                  </a:srgb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High-volume (</a:t>
            </a:r>
            <a:r>
              <a:rPr lang="en-US" sz="1300" dirty="0" smtClean="0">
                <a:solidFill>
                  <a:srgbClr val="7E7E82">
                    <a:lumMod val="50000"/>
                  </a:srgb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5,000</a:t>
            </a:r>
            <a:r>
              <a:rPr lang="en-US" sz="1300" dirty="0">
                <a:solidFill>
                  <a:srgbClr val="7E7E82">
                    <a:lumMod val="50000"/>
                  </a:srgb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+ member) PCMH practices: Shared savings based on total cost of </a:t>
            </a:r>
            <a:r>
              <a:rPr lang="en-US" sz="1300" dirty="0" smtClean="0">
                <a:solidFill>
                  <a:srgbClr val="7E7E82">
                    <a:lumMod val="50000"/>
                  </a:srgb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care and quality metrics</a:t>
            </a:r>
            <a:endParaRPr lang="en-US" sz="1300" dirty="0">
              <a:solidFill>
                <a:srgbClr val="7E7E82">
                  <a:lumMod val="50000"/>
                </a:srgb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FF0F00"/>
              </a:buClr>
            </a:pPr>
            <a:r>
              <a:rPr lang="en-US" sz="1300" dirty="0">
                <a:solidFill>
                  <a:srgbClr val="7E7E82">
                    <a:lumMod val="50000"/>
                  </a:srgb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Low-volume (&lt;</a:t>
            </a:r>
            <a:r>
              <a:rPr lang="en-US" sz="1300" dirty="0" smtClean="0">
                <a:solidFill>
                  <a:srgbClr val="7E7E82">
                    <a:lumMod val="50000"/>
                  </a:srgb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5,000 </a:t>
            </a:r>
            <a:r>
              <a:rPr lang="en-US" sz="1300" dirty="0">
                <a:solidFill>
                  <a:srgbClr val="7E7E82">
                    <a:lumMod val="50000"/>
                  </a:srgb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member) PCMH practices: Bonus payment based on </a:t>
            </a:r>
            <a:r>
              <a:rPr lang="en-US" sz="1300" dirty="0" smtClean="0">
                <a:solidFill>
                  <a:srgbClr val="7E7E82">
                    <a:lumMod val="50000"/>
                  </a:srgb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efficiency and quality metrics</a:t>
            </a:r>
            <a:endParaRPr lang="en-US" sz="1300" dirty="0">
              <a:solidFill>
                <a:srgbClr val="7E7E82">
                  <a:lumMod val="50000"/>
                </a:srgb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1620" lvl="1" indent="0" fontAlgn="base">
              <a:spcBef>
                <a:spcPct val="0"/>
              </a:spcBef>
              <a:spcAft>
                <a:spcPct val="0"/>
              </a:spcAft>
              <a:buClr>
                <a:srgbClr val="FF0F00"/>
              </a:buClr>
              <a:buFont typeface="Arial" pitchFamily="34" charset="0"/>
              <a:buNone/>
            </a:pPr>
            <a:r>
              <a:rPr lang="en-US" sz="1300" dirty="0" smtClean="0">
                <a:solidFill>
                  <a:srgbClr val="7E7E82">
                    <a:lumMod val="50000"/>
                  </a:srgb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cxnSp>
        <p:nvCxnSpPr>
          <p:cNvPr id="60" name="Straight Connector 59"/>
          <p:cNvCxnSpPr>
            <a:cxnSpLocks/>
          </p:cNvCxnSpPr>
          <p:nvPr/>
        </p:nvCxnSpPr>
        <p:spPr bwMode="auto">
          <a:xfrm>
            <a:off x="2165882" y="990600"/>
            <a:ext cx="6673318" cy="25341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sysDot"/>
          </a:ln>
          <a:effectLst/>
          <a:extLst/>
        </p:spPr>
      </p:cxnSp>
      <p:sp>
        <p:nvSpPr>
          <p:cNvPr id="50" name="Rectangle 49"/>
          <p:cNvSpPr>
            <a:spLocks/>
          </p:cNvSpPr>
          <p:nvPr/>
        </p:nvSpPr>
        <p:spPr>
          <a:xfrm>
            <a:off x="1357165" y="6088702"/>
            <a:ext cx="6721979" cy="43859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0" tIns="46646" rIns="93290" bIns="4664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1B365D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Payments in addition to the base primary care payments </a:t>
            </a:r>
            <a:r>
              <a:rPr lang="en-US" sz="1400" b="1" dirty="0" smtClean="0">
                <a:solidFill>
                  <a:srgbClr val="1B365D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such </a:t>
            </a:r>
            <a:r>
              <a:rPr lang="en-US" sz="1400" b="1" dirty="0">
                <a:solidFill>
                  <a:srgbClr val="1B365D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as </a:t>
            </a:r>
            <a:r>
              <a:rPr lang="en-US" sz="1400" b="1" dirty="0" err="1" smtClean="0">
                <a:solidFill>
                  <a:srgbClr val="1B365D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FFS</a:t>
            </a:r>
            <a:endParaRPr lang="en-US" sz="1400" b="1" dirty="0">
              <a:solidFill>
                <a:srgbClr val="1B365D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7680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63" name="think-cell Slide" r:id="rId24" imgW="493" imgH="493" progId="TCLayout.ActiveDocument.1">
                  <p:embed/>
                </p:oleObj>
              </mc:Choice>
              <mc:Fallback>
                <p:oleObj name="think-cell Slide" r:id="rId2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654" y="30830"/>
            <a:ext cx="8794113" cy="246221"/>
          </a:xfrm>
        </p:spPr>
        <p:txBody>
          <a:bodyPr/>
          <a:lstStyle/>
          <a:p>
            <a:r>
              <a:rPr lang="en-US" sz="1600" dirty="0" smtClean="0">
                <a:latin typeface="Georgia" panose="02040502050405020303" pitchFamily="18" charset="0"/>
              </a:rPr>
              <a:t>75 episodes of care will be designed and implemented over 5 years</a:t>
            </a:r>
            <a:endParaRPr lang="en-US" sz="1600" dirty="0">
              <a:latin typeface="Georgia" panose="02040502050405020303" pitchFamily="18" charset="0"/>
            </a:endParaRPr>
          </a:p>
        </p:txBody>
      </p:sp>
      <p:sp>
        <p:nvSpPr>
          <p:cNvPr id="77" name="TextBox 14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418952" y="4648200"/>
            <a:ext cx="314848" cy="2082411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noFill/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none" lIns="76193" tIns="76193" rIns="76193" bIns="76193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913526" eaLnBrk="1" hangingPunct="1">
              <a:buClr>
                <a:schemeClr val="tx2"/>
              </a:buClr>
              <a:defRPr sz="800" b="1" baseline="0">
                <a:solidFill>
                  <a:schemeClr val="bg1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/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/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/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/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>
              <a:buClr>
                <a:srgbClr val="1B365D"/>
              </a:buClr>
            </a:pPr>
            <a:r>
              <a:rPr lang="en-US" sz="1020" dirty="0">
                <a:solidFill>
                  <a:prstClr val="white"/>
                </a:solidFill>
              </a:rPr>
              <a:t>8</a:t>
            </a:r>
          </a:p>
        </p:txBody>
      </p:sp>
      <p:cxnSp>
        <p:nvCxnSpPr>
          <p:cNvPr id="102" name="Straight Connector 101"/>
          <p:cNvCxnSpPr/>
          <p:nvPr/>
        </p:nvCxnSpPr>
        <p:spPr>
          <a:xfrm>
            <a:off x="6672615" y="2081080"/>
            <a:ext cx="2298443" cy="0"/>
          </a:xfrm>
          <a:prstGeom prst="line">
            <a:avLst/>
          </a:prstGeom>
          <a:ln>
            <a:solidFill>
              <a:schemeClr val="tx1"/>
            </a:solidFill>
            <a:prstDash val="sysDot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8014346" y="6691300"/>
            <a:ext cx="1639553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pdated June 20, 2017</a:t>
            </a:r>
            <a:endParaRPr lang="en-US" sz="6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64" name="Group 63"/>
          <p:cNvGrpSpPr/>
          <p:nvPr/>
        </p:nvGrpSpPr>
        <p:grpSpPr>
          <a:xfrm>
            <a:off x="66433" y="371965"/>
            <a:ext cx="9042468" cy="6351257"/>
            <a:chOff x="147946" y="375220"/>
            <a:chExt cx="9042468" cy="6351257"/>
          </a:xfrm>
        </p:grpSpPr>
        <p:sp>
          <p:nvSpPr>
            <p:cNvPr id="88" name="Rectangle 22"/>
            <p:cNvSpPr txBox="1">
              <a:spLocks/>
            </p:cNvSpPr>
            <p:nvPr/>
          </p:nvSpPr>
          <p:spPr>
            <a:xfrm>
              <a:off x="7160680" y="6035079"/>
              <a:ext cx="2029734" cy="1601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13526" eaLnBrk="1" hangingPunct="1">
                <a:buClr>
                  <a:schemeClr val="tx2"/>
                </a:buClr>
                <a:defRPr sz="800" b="1" baseline="0">
                  <a:solidFill>
                    <a:schemeClr val="tx2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b="0" dirty="0">
                  <a:solidFill>
                    <a:prstClr val="black"/>
                  </a:solidFill>
                </a:rPr>
                <a:t>Depression – acute exacerbation</a:t>
              </a:r>
            </a:p>
          </p:txBody>
        </p:sp>
        <p:sp>
          <p:nvSpPr>
            <p:cNvPr id="6" name="Rectangle 3"/>
            <p:cNvSpPr txBox="1"/>
            <p:nvPr/>
          </p:nvSpPr>
          <p:spPr>
            <a:xfrm>
              <a:off x="1056026" y="506573"/>
              <a:ext cx="1289684" cy="1742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b="1" dirty="0">
                  <a:solidFill>
                    <a:srgbClr val="1B365D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Episode</a:t>
              </a:r>
            </a:p>
          </p:txBody>
        </p:sp>
        <p:sp>
          <p:nvSpPr>
            <p:cNvPr id="7" name="Rectangle 22"/>
            <p:cNvSpPr txBox="1">
              <a:spLocks/>
            </p:cNvSpPr>
            <p:nvPr/>
          </p:nvSpPr>
          <p:spPr>
            <a:xfrm>
              <a:off x="1055536" y="1262151"/>
              <a:ext cx="1549376" cy="1742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Total joint replacement</a:t>
              </a:r>
            </a:p>
          </p:txBody>
        </p:sp>
        <p:sp>
          <p:nvSpPr>
            <p:cNvPr id="8" name="Rectangle 22"/>
            <p:cNvSpPr txBox="1">
              <a:spLocks/>
            </p:cNvSpPr>
            <p:nvPr/>
          </p:nvSpPr>
          <p:spPr>
            <a:xfrm>
              <a:off x="1057192" y="1742530"/>
              <a:ext cx="870068" cy="1742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Colonoscopy</a:t>
              </a:r>
            </a:p>
          </p:txBody>
        </p:sp>
        <p:sp>
          <p:nvSpPr>
            <p:cNvPr id="9" name="Rectangle 22"/>
            <p:cNvSpPr txBox="1">
              <a:spLocks/>
            </p:cNvSpPr>
            <p:nvPr/>
          </p:nvSpPr>
          <p:spPr>
            <a:xfrm>
              <a:off x="1056026" y="2129638"/>
              <a:ext cx="688676" cy="170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PCI </a:t>
              </a:r>
              <a:r>
                <a:rPr lang="en-US" sz="1020" dirty="0" smtClean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- acute</a:t>
              </a:r>
              <a:endParaRPr lang="en-US" sz="1020" dirty="0">
                <a:solidFill>
                  <a:prstClr val="black"/>
                </a:solidFill>
                <a:latin typeface="Open Sans" pitchFamily="34" charset="0"/>
                <a:ea typeface="Open Sans" pitchFamily="34" charset="0"/>
                <a:cs typeface="Open Sans" pitchFamily="34" charset="0"/>
              </a:endParaRPr>
            </a:p>
          </p:txBody>
        </p:sp>
        <p:sp>
          <p:nvSpPr>
            <p:cNvPr id="10" name="Rectangle 22"/>
            <p:cNvSpPr txBox="1">
              <a:spLocks/>
            </p:cNvSpPr>
            <p:nvPr/>
          </p:nvSpPr>
          <p:spPr>
            <a:xfrm>
              <a:off x="1055002" y="3028949"/>
              <a:ext cx="1428166" cy="1742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Respiratory Infection </a:t>
              </a:r>
            </a:p>
          </p:txBody>
        </p:sp>
        <p:sp>
          <p:nvSpPr>
            <p:cNvPr id="11" name="Rectangle 22"/>
            <p:cNvSpPr txBox="1">
              <a:spLocks/>
            </p:cNvSpPr>
            <p:nvPr/>
          </p:nvSpPr>
          <p:spPr>
            <a:xfrm>
              <a:off x="1032777" y="4176563"/>
              <a:ext cx="1580995" cy="1742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CHF acute exacerbation</a:t>
              </a:r>
            </a:p>
          </p:txBody>
        </p:sp>
        <p:sp>
          <p:nvSpPr>
            <p:cNvPr id="12" name="Rectangle 22"/>
            <p:cNvSpPr txBox="1">
              <a:spLocks/>
            </p:cNvSpPr>
            <p:nvPr/>
          </p:nvSpPr>
          <p:spPr>
            <a:xfrm>
              <a:off x="1043149" y="4576787"/>
              <a:ext cx="377682" cy="1742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CABG</a:t>
              </a:r>
            </a:p>
          </p:txBody>
        </p:sp>
        <p:sp>
          <p:nvSpPr>
            <p:cNvPr id="13" name="Rectangle 22"/>
            <p:cNvSpPr txBox="1">
              <a:spLocks/>
            </p:cNvSpPr>
            <p:nvPr/>
          </p:nvSpPr>
          <p:spPr>
            <a:xfrm>
              <a:off x="1028522" y="5900871"/>
              <a:ext cx="1507641" cy="1742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 smtClean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Otitis media</a:t>
              </a:r>
              <a:endParaRPr lang="en-US" sz="1020" dirty="0">
                <a:solidFill>
                  <a:prstClr val="black"/>
                </a:solidFill>
                <a:latin typeface="Open Sans" pitchFamily="34" charset="0"/>
                <a:ea typeface="Open Sans" pitchFamily="34" charset="0"/>
                <a:cs typeface="Open Sans" pitchFamily="34" charset="0"/>
              </a:endParaRPr>
            </a:p>
          </p:txBody>
        </p:sp>
        <p:sp>
          <p:nvSpPr>
            <p:cNvPr id="14" name="Rectangle 22"/>
            <p:cNvSpPr txBox="1">
              <a:spLocks/>
            </p:cNvSpPr>
            <p:nvPr/>
          </p:nvSpPr>
          <p:spPr>
            <a:xfrm>
              <a:off x="1055536" y="777584"/>
              <a:ext cx="595508" cy="1742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Perinatal</a:t>
              </a:r>
            </a:p>
          </p:txBody>
        </p:sp>
        <p:sp>
          <p:nvSpPr>
            <p:cNvPr id="15" name="Rectangle 22"/>
            <p:cNvSpPr txBox="1">
              <a:spLocks/>
            </p:cNvSpPr>
            <p:nvPr/>
          </p:nvSpPr>
          <p:spPr>
            <a:xfrm>
              <a:off x="1049413" y="1539240"/>
              <a:ext cx="1954016" cy="170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COPD acute </a:t>
              </a:r>
              <a:r>
                <a:rPr lang="en-US" sz="1020" dirty="0" smtClean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exacerbation</a:t>
              </a:r>
              <a:endParaRPr lang="en-US" sz="1020" dirty="0">
                <a:solidFill>
                  <a:prstClr val="black"/>
                </a:solidFill>
                <a:latin typeface="Open Sans" pitchFamily="34" charset="0"/>
                <a:ea typeface="Open Sans" pitchFamily="34" charset="0"/>
                <a:cs typeface="Open Sans" pitchFamily="34" charset="0"/>
              </a:endParaRPr>
            </a:p>
          </p:txBody>
        </p:sp>
        <p:sp>
          <p:nvSpPr>
            <p:cNvPr id="16" name="Rectangle 22"/>
            <p:cNvSpPr txBox="1">
              <a:spLocks/>
            </p:cNvSpPr>
            <p:nvPr/>
          </p:nvSpPr>
          <p:spPr>
            <a:xfrm>
              <a:off x="1048919" y="1940779"/>
              <a:ext cx="1133046" cy="1742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Cholecystectomy</a:t>
              </a:r>
            </a:p>
          </p:txBody>
        </p:sp>
        <p:sp>
          <p:nvSpPr>
            <p:cNvPr id="17" name="Rectangle 22"/>
            <p:cNvSpPr txBox="1">
              <a:spLocks/>
            </p:cNvSpPr>
            <p:nvPr/>
          </p:nvSpPr>
          <p:spPr>
            <a:xfrm>
              <a:off x="1056243" y="2817354"/>
              <a:ext cx="280636" cy="170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 smtClean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EGD</a:t>
              </a:r>
              <a:endParaRPr lang="en-US" sz="1020" dirty="0">
                <a:solidFill>
                  <a:prstClr val="black"/>
                </a:solidFill>
                <a:latin typeface="Open Sans" pitchFamily="34" charset="0"/>
                <a:ea typeface="Open Sans" pitchFamily="34" charset="0"/>
                <a:cs typeface="Open Sans" pitchFamily="34" charset="0"/>
              </a:endParaRPr>
            </a:p>
          </p:txBody>
        </p:sp>
        <p:sp>
          <p:nvSpPr>
            <p:cNvPr id="18" name="Rectangle 22"/>
            <p:cNvSpPr txBox="1">
              <a:spLocks/>
            </p:cNvSpPr>
            <p:nvPr/>
          </p:nvSpPr>
          <p:spPr>
            <a:xfrm>
              <a:off x="1045019" y="3250542"/>
              <a:ext cx="765904" cy="1742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Pneumonia</a:t>
              </a:r>
            </a:p>
          </p:txBody>
        </p:sp>
        <p:sp>
          <p:nvSpPr>
            <p:cNvPr id="19" name="Rectangle 22"/>
            <p:cNvSpPr txBox="1">
              <a:spLocks/>
            </p:cNvSpPr>
            <p:nvPr/>
          </p:nvSpPr>
          <p:spPr>
            <a:xfrm>
              <a:off x="1055535" y="2616528"/>
              <a:ext cx="1011837" cy="1742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GI hemorrhage</a:t>
              </a:r>
            </a:p>
          </p:txBody>
        </p:sp>
        <p:sp>
          <p:nvSpPr>
            <p:cNvPr id="20" name="Rectangle 22"/>
            <p:cNvSpPr txBox="1">
              <a:spLocks/>
            </p:cNvSpPr>
            <p:nvPr/>
          </p:nvSpPr>
          <p:spPr>
            <a:xfrm>
              <a:off x="1056243" y="3471714"/>
              <a:ext cx="1020963" cy="170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 smtClean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UTI - outpatient</a:t>
              </a:r>
              <a:endParaRPr lang="en-US" sz="1020" dirty="0">
                <a:solidFill>
                  <a:prstClr val="black"/>
                </a:solidFill>
                <a:latin typeface="Open Sans" pitchFamily="34" charset="0"/>
                <a:ea typeface="Open Sans" pitchFamily="34" charset="0"/>
                <a:cs typeface="Open Sans" pitchFamily="34" charset="0"/>
              </a:endParaRPr>
            </a:p>
          </p:txBody>
        </p:sp>
        <p:sp>
          <p:nvSpPr>
            <p:cNvPr id="21" name="Rectangle 22"/>
            <p:cNvSpPr txBox="1">
              <a:spLocks/>
            </p:cNvSpPr>
            <p:nvPr/>
          </p:nvSpPr>
          <p:spPr>
            <a:xfrm>
              <a:off x="1037069" y="4378394"/>
              <a:ext cx="319713" cy="1742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13526" eaLnBrk="1" hangingPunct="1">
                <a:buClr>
                  <a:schemeClr val="tx2"/>
                </a:buClr>
                <a:defRPr sz="800" b="1" baseline="0">
                  <a:solidFill>
                    <a:schemeClr val="tx2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b="0" dirty="0">
                  <a:solidFill>
                    <a:prstClr val="black"/>
                  </a:solidFill>
                </a:rPr>
                <a:t>ODD</a:t>
              </a:r>
            </a:p>
          </p:txBody>
        </p:sp>
        <p:sp>
          <p:nvSpPr>
            <p:cNvPr id="22" name="Rectangle 22"/>
            <p:cNvSpPr txBox="1">
              <a:spLocks/>
            </p:cNvSpPr>
            <p:nvPr/>
          </p:nvSpPr>
          <p:spPr>
            <a:xfrm>
              <a:off x="1035249" y="4778435"/>
              <a:ext cx="1965704" cy="1742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Valve repair and replacement</a:t>
              </a:r>
            </a:p>
          </p:txBody>
        </p:sp>
        <p:sp>
          <p:nvSpPr>
            <p:cNvPr id="23" name="Rectangle 22"/>
            <p:cNvSpPr txBox="1">
              <a:spLocks/>
            </p:cNvSpPr>
            <p:nvPr/>
          </p:nvSpPr>
          <p:spPr>
            <a:xfrm>
              <a:off x="1033341" y="6108012"/>
              <a:ext cx="924004" cy="1742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Tonsillectomy</a:t>
              </a:r>
            </a:p>
          </p:txBody>
        </p:sp>
        <p:sp>
          <p:nvSpPr>
            <p:cNvPr id="24" name="Rectangle 22"/>
            <p:cNvSpPr txBox="1">
              <a:spLocks/>
            </p:cNvSpPr>
            <p:nvPr/>
          </p:nvSpPr>
          <p:spPr>
            <a:xfrm>
              <a:off x="1032777" y="5454695"/>
              <a:ext cx="2102184" cy="170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Breast </a:t>
              </a:r>
              <a:r>
                <a:rPr lang="en-US" sz="1020" dirty="0" smtClean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cancer, </a:t>
              </a:r>
              <a:r>
                <a:rPr lang="en-US" sz="1020" dirty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m</a:t>
              </a:r>
              <a:r>
                <a:rPr lang="en-US" sz="1020" dirty="0" smtClean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edical </a:t>
              </a:r>
              <a:r>
                <a:rPr lang="en-US" sz="1020" dirty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o</a:t>
              </a:r>
              <a:r>
                <a:rPr lang="en-US" sz="1020" dirty="0" smtClean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ncology</a:t>
              </a:r>
              <a:endParaRPr lang="en-US" sz="1020" dirty="0">
                <a:solidFill>
                  <a:prstClr val="black"/>
                </a:solidFill>
                <a:latin typeface="Open Sans" pitchFamily="34" charset="0"/>
                <a:ea typeface="Open Sans" pitchFamily="34" charset="0"/>
                <a:cs typeface="Open Sans" pitchFamily="34" charset="0"/>
              </a:endParaRPr>
            </a:p>
          </p:txBody>
        </p:sp>
        <p:sp>
          <p:nvSpPr>
            <p:cNvPr id="25" name="Rectangle 22"/>
            <p:cNvSpPr txBox="1">
              <a:spLocks/>
            </p:cNvSpPr>
            <p:nvPr/>
          </p:nvSpPr>
          <p:spPr>
            <a:xfrm>
              <a:off x="1042915" y="6531381"/>
              <a:ext cx="495379" cy="1742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13526" eaLnBrk="1" hangingPunct="1">
                <a:buClr>
                  <a:schemeClr val="tx2"/>
                </a:buClr>
                <a:defRPr sz="800" b="1" baseline="0">
                  <a:solidFill>
                    <a:schemeClr val="tx2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b="0" dirty="0">
                  <a:solidFill>
                    <a:prstClr val="black"/>
                  </a:solidFill>
                </a:rPr>
                <a:t>Anxiety</a:t>
              </a:r>
            </a:p>
          </p:txBody>
        </p:sp>
        <p:sp>
          <p:nvSpPr>
            <p:cNvPr id="26" name="Rectangle 22"/>
            <p:cNvSpPr txBox="1">
              <a:spLocks/>
            </p:cNvSpPr>
            <p:nvPr/>
          </p:nvSpPr>
          <p:spPr>
            <a:xfrm>
              <a:off x="1056026" y="3976554"/>
              <a:ext cx="440923" cy="1742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13526" eaLnBrk="1" hangingPunct="1">
                <a:buClr>
                  <a:schemeClr val="tx2"/>
                </a:buClr>
                <a:defRPr sz="800" b="1" baseline="0">
                  <a:solidFill>
                    <a:schemeClr val="tx2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b="0" dirty="0">
                  <a:solidFill>
                    <a:prstClr val="black"/>
                  </a:solidFill>
                </a:rPr>
                <a:t>ADHD </a:t>
              </a:r>
            </a:p>
          </p:txBody>
        </p:sp>
        <p:sp>
          <p:nvSpPr>
            <p:cNvPr id="27" name="Rectangle 22"/>
            <p:cNvSpPr txBox="1">
              <a:spLocks/>
            </p:cNvSpPr>
            <p:nvPr/>
          </p:nvSpPr>
          <p:spPr>
            <a:xfrm>
              <a:off x="1024624" y="4986578"/>
              <a:ext cx="1101427" cy="1742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Bariatric surgery</a:t>
              </a:r>
            </a:p>
          </p:txBody>
        </p:sp>
        <p:cxnSp>
          <p:nvCxnSpPr>
            <p:cNvPr id="28" name="Straight Connector 27"/>
            <p:cNvCxnSpPr/>
            <p:nvPr/>
          </p:nvCxnSpPr>
          <p:spPr>
            <a:xfrm>
              <a:off x="1055537" y="710402"/>
              <a:ext cx="169180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>
              <a:cxnSpLocks/>
            </p:cNvCxnSpPr>
            <p:nvPr/>
          </p:nvCxnSpPr>
          <p:spPr>
            <a:xfrm>
              <a:off x="159058" y="1436370"/>
              <a:ext cx="264897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32" name="Rectangle 3"/>
            <p:cNvSpPr txBox="1">
              <a:spLocks/>
            </p:cNvSpPr>
            <p:nvPr/>
          </p:nvSpPr>
          <p:spPr>
            <a:xfrm>
              <a:off x="164265" y="375220"/>
              <a:ext cx="801333" cy="5226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b="1" dirty="0">
                  <a:solidFill>
                    <a:srgbClr val="1B365D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Design year &amp; wave</a:t>
              </a:r>
            </a:p>
          </p:txBody>
        </p:sp>
        <p:sp>
          <p:nvSpPr>
            <p:cNvPr id="33" name="Rectangle 22"/>
            <p:cNvSpPr txBox="1">
              <a:spLocks/>
            </p:cNvSpPr>
            <p:nvPr/>
          </p:nvSpPr>
          <p:spPr>
            <a:xfrm>
              <a:off x="1055536" y="1019867"/>
              <a:ext cx="1787115" cy="3415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Asthma acute exacerbation</a:t>
              </a:r>
            </a:p>
            <a:p>
              <a:pPr>
                <a:buClr>
                  <a:srgbClr val="1B365D"/>
                </a:buClr>
              </a:pPr>
              <a:endParaRPr lang="en-US" sz="1020" dirty="0">
                <a:solidFill>
                  <a:prstClr val="black"/>
                </a:solidFill>
                <a:latin typeface="Open Sans" pitchFamily="34" charset="0"/>
                <a:ea typeface="Open Sans" pitchFamily="34" charset="0"/>
                <a:cs typeface="Open Sans" pitchFamily="34" charset="0"/>
              </a:endParaRPr>
            </a:p>
          </p:txBody>
        </p:sp>
        <p:sp>
          <p:nvSpPr>
            <p:cNvPr id="34" name="TextBox 14"/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152400" y="777584"/>
              <a:ext cx="419796" cy="620878"/>
            </a:xfrm>
            <a:prstGeom prst="rect">
              <a:avLst/>
            </a:prstGeom>
            <a:solidFill>
              <a:schemeClr val="tx2"/>
            </a:solidFill>
            <a:ln w="9525">
              <a:noFill/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76193" tIns="76193" rIns="76193" bIns="76193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rgbClr val="1B365D"/>
                </a:buClr>
              </a:pPr>
              <a:r>
                <a:rPr lang="en-US" sz="1020" b="1" dirty="0">
                  <a:solidFill>
                    <a:prstClr val="white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2013</a:t>
              </a:r>
            </a:p>
          </p:txBody>
        </p:sp>
        <p:sp>
          <p:nvSpPr>
            <p:cNvPr id="35" name="TextBox 14"/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638885" y="777584"/>
              <a:ext cx="314849" cy="62087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>
              <a:noFill/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76193" tIns="76193" rIns="76193" bIns="76193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rgbClr val="1B365D"/>
                </a:buClr>
              </a:pPr>
              <a:r>
                <a:rPr lang="en-US" sz="1020" b="1" dirty="0">
                  <a:solidFill>
                    <a:prstClr val="white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1</a:t>
              </a:r>
            </a:p>
          </p:txBody>
        </p:sp>
        <p:sp>
          <p:nvSpPr>
            <p:cNvPr id="36" name="TextBox 14"/>
            <p:cNvSpPr txBox="1"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152400" y="1504434"/>
              <a:ext cx="419796" cy="969134"/>
            </a:xfrm>
            <a:prstGeom prst="rect">
              <a:avLst/>
            </a:prstGeom>
            <a:solidFill>
              <a:schemeClr val="tx2"/>
            </a:solidFill>
            <a:ln w="9525">
              <a:noFill/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76193" tIns="76193" rIns="76193" bIns="76193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rgbClr val="1B365D"/>
                </a:buClr>
              </a:pPr>
              <a:r>
                <a:rPr lang="en-US" sz="1020" b="1" dirty="0">
                  <a:solidFill>
                    <a:prstClr val="white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2014</a:t>
              </a:r>
            </a:p>
          </p:txBody>
        </p:sp>
        <p:sp>
          <p:nvSpPr>
            <p:cNvPr id="37" name="TextBox 14"/>
            <p:cNvSpPr txBox="1"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638885" y="1506655"/>
              <a:ext cx="314849" cy="966912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>
              <a:noFill/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76193" tIns="76193" rIns="76193" bIns="76193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rgbClr val="1B365D"/>
                </a:buClr>
              </a:pPr>
              <a:r>
                <a:rPr lang="en-US" sz="1020" b="1" dirty="0">
                  <a:solidFill>
                    <a:prstClr val="white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2</a:t>
              </a:r>
            </a:p>
          </p:txBody>
        </p:sp>
        <p:sp>
          <p:nvSpPr>
            <p:cNvPr id="38" name="TextBox 14"/>
            <p:cNvSpPr txBox="1"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152400" y="2616528"/>
              <a:ext cx="419796" cy="2492512"/>
            </a:xfrm>
            <a:prstGeom prst="rect">
              <a:avLst/>
            </a:prstGeom>
            <a:solidFill>
              <a:schemeClr val="tx2"/>
            </a:solidFill>
            <a:ln w="9525">
              <a:noFill/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76193" tIns="76193" rIns="76193" bIns="76193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rgbClr val="1B365D"/>
                </a:buClr>
              </a:pPr>
              <a:r>
                <a:rPr lang="en-US" sz="1020" b="1" dirty="0">
                  <a:solidFill>
                    <a:prstClr val="white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2015</a:t>
              </a:r>
            </a:p>
          </p:txBody>
        </p:sp>
        <p:sp>
          <p:nvSpPr>
            <p:cNvPr id="39" name="TextBox 14"/>
            <p:cNvSpPr txBox="1">
              <a:spLocks/>
            </p:cNvSpPr>
            <p:nvPr>
              <p:custDataLst>
                <p:tags r:id="rId9"/>
              </p:custDataLst>
            </p:nvPr>
          </p:nvSpPr>
          <p:spPr>
            <a:xfrm>
              <a:off x="638885" y="2616528"/>
              <a:ext cx="314851" cy="1183653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>
              <a:noFill/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76193" tIns="76193" rIns="76193" bIns="76193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rgbClr val="1B365D"/>
                </a:buClr>
              </a:pPr>
              <a:r>
                <a:rPr lang="en-US" sz="1020" b="1" dirty="0">
                  <a:solidFill>
                    <a:prstClr val="white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3</a:t>
              </a:r>
            </a:p>
          </p:txBody>
        </p:sp>
        <p:sp>
          <p:nvSpPr>
            <p:cNvPr id="40" name="TextBox 14"/>
            <p:cNvSpPr txBox="1">
              <a:spLocks/>
            </p:cNvSpPr>
            <p:nvPr>
              <p:custDataLst>
                <p:tags r:id="rId10"/>
              </p:custDataLst>
            </p:nvPr>
          </p:nvSpPr>
          <p:spPr>
            <a:xfrm>
              <a:off x="628681" y="3946694"/>
              <a:ext cx="314849" cy="1162345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>
              <a:noFill/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76193" tIns="76193" rIns="76193" bIns="76193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rgbClr val="1B365D"/>
                </a:buClr>
              </a:pPr>
              <a:r>
                <a:rPr lang="en-US" sz="1020" b="1" dirty="0">
                  <a:solidFill>
                    <a:prstClr val="white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4</a:t>
              </a:r>
            </a:p>
          </p:txBody>
        </p:sp>
        <p:sp>
          <p:nvSpPr>
            <p:cNvPr id="41" name="TextBox 14"/>
            <p:cNvSpPr txBox="1">
              <a:spLocks/>
            </p:cNvSpPr>
            <p:nvPr>
              <p:custDataLst>
                <p:tags r:id="rId11"/>
              </p:custDataLst>
            </p:nvPr>
          </p:nvSpPr>
          <p:spPr>
            <a:xfrm>
              <a:off x="638885" y="5210143"/>
              <a:ext cx="314849" cy="1516334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>
              <a:noFill/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76193" tIns="76193" rIns="76193" bIns="76193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rgbClr val="1B365D"/>
                </a:buClr>
              </a:pPr>
              <a:r>
                <a:rPr lang="en-US" sz="1020" b="1" dirty="0">
                  <a:solidFill>
                    <a:prstClr val="white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5</a:t>
              </a:r>
            </a:p>
          </p:txBody>
        </p:sp>
        <p:sp>
          <p:nvSpPr>
            <p:cNvPr id="42" name="TextBox 14"/>
            <p:cNvSpPr txBox="1">
              <a:spLocks/>
            </p:cNvSpPr>
            <p:nvPr>
              <p:custDataLst>
                <p:tags r:id="rId12"/>
              </p:custDataLst>
            </p:nvPr>
          </p:nvSpPr>
          <p:spPr>
            <a:xfrm>
              <a:off x="147946" y="5218162"/>
              <a:ext cx="419796" cy="1508315"/>
            </a:xfrm>
            <a:prstGeom prst="rect">
              <a:avLst/>
            </a:prstGeom>
            <a:solidFill>
              <a:schemeClr val="tx2"/>
            </a:solidFill>
            <a:ln w="9525">
              <a:noFill/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76193" tIns="76193" rIns="76193" bIns="76193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rgbClr val="1B365D"/>
                </a:buClr>
              </a:pPr>
              <a:r>
                <a:rPr lang="en-US" sz="1020" b="1" dirty="0">
                  <a:solidFill>
                    <a:prstClr val="white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2016</a:t>
              </a:r>
            </a:p>
          </p:txBody>
        </p:sp>
        <p:cxnSp>
          <p:nvCxnSpPr>
            <p:cNvPr id="43" name="Straight Connector 42"/>
            <p:cNvCxnSpPr>
              <a:cxnSpLocks/>
            </p:cNvCxnSpPr>
            <p:nvPr/>
          </p:nvCxnSpPr>
          <p:spPr>
            <a:xfrm>
              <a:off x="152401" y="710402"/>
              <a:ext cx="801333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44" name="Rectangle 3"/>
            <p:cNvSpPr txBox="1"/>
            <p:nvPr/>
          </p:nvSpPr>
          <p:spPr>
            <a:xfrm>
              <a:off x="3963464" y="522654"/>
              <a:ext cx="1289684" cy="1742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b="1" dirty="0">
                  <a:solidFill>
                    <a:srgbClr val="1B365D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Episode</a:t>
              </a:r>
            </a:p>
          </p:txBody>
        </p:sp>
        <p:sp>
          <p:nvSpPr>
            <p:cNvPr id="45" name="Rectangle 22"/>
            <p:cNvSpPr txBox="1">
              <a:spLocks/>
            </p:cNvSpPr>
            <p:nvPr/>
          </p:nvSpPr>
          <p:spPr>
            <a:xfrm>
              <a:off x="7139350" y="2836079"/>
              <a:ext cx="723744" cy="1742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Hepatitis C</a:t>
              </a:r>
            </a:p>
          </p:txBody>
        </p:sp>
        <p:sp>
          <p:nvSpPr>
            <p:cNvPr id="46" name="Rectangle 22"/>
            <p:cNvSpPr txBox="1">
              <a:spLocks/>
            </p:cNvSpPr>
            <p:nvPr/>
          </p:nvSpPr>
          <p:spPr>
            <a:xfrm>
              <a:off x="3932948" y="2084335"/>
              <a:ext cx="1900707" cy="1742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Diabetes acute exacerbation</a:t>
              </a:r>
            </a:p>
          </p:txBody>
        </p:sp>
        <p:sp>
          <p:nvSpPr>
            <p:cNvPr id="48" name="Rectangle 22"/>
            <p:cNvSpPr txBox="1">
              <a:spLocks/>
            </p:cNvSpPr>
            <p:nvPr/>
          </p:nvSpPr>
          <p:spPr>
            <a:xfrm>
              <a:off x="3923400" y="5318573"/>
              <a:ext cx="2099163" cy="3139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 smtClean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Pediatric acute lower respiratory infection</a:t>
              </a:r>
              <a:endParaRPr lang="en-US" sz="1020" dirty="0">
                <a:solidFill>
                  <a:prstClr val="black"/>
                </a:solidFill>
                <a:latin typeface="Open Sans" pitchFamily="34" charset="0"/>
                <a:ea typeface="Open Sans" pitchFamily="34" charset="0"/>
                <a:cs typeface="Open Sans" pitchFamily="34" charset="0"/>
              </a:endParaRPr>
            </a:p>
          </p:txBody>
        </p:sp>
        <p:sp>
          <p:nvSpPr>
            <p:cNvPr id="49" name="Rectangle 22"/>
            <p:cNvSpPr txBox="1">
              <a:spLocks/>
            </p:cNvSpPr>
            <p:nvPr/>
          </p:nvSpPr>
          <p:spPr>
            <a:xfrm>
              <a:off x="3935950" y="5692473"/>
              <a:ext cx="702115" cy="1569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 smtClean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Colposcopy</a:t>
              </a:r>
              <a:endParaRPr lang="en-US" sz="1020" dirty="0">
                <a:solidFill>
                  <a:prstClr val="black"/>
                </a:solidFill>
                <a:latin typeface="Open Sans" pitchFamily="34" charset="0"/>
                <a:ea typeface="Open Sans" pitchFamily="34" charset="0"/>
                <a:cs typeface="Open Sans" pitchFamily="34" charset="0"/>
              </a:endParaRPr>
            </a:p>
          </p:txBody>
        </p:sp>
        <p:sp>
          <p:nvSpPr>
            <p:cNvPr id="51" name="Rectangle 22"/>
            <p:cNvSpPr txBox="1">
              <a:spLocks/>
            </p:cNvSpPr>
            <p:nvPr/>
          </p:nvSpPr>
          <p:spPr>
            <a:xfrm>
              <a:off x="3926064" y="992170"/>
              <a:ext cx="1925207" cy="1569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 smtClean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Neonatal (Age 31 weeks or less)</a:t>
              </a:r>
              <a:endParaRPr lang="en-US" sz="1020" dirty="0">
                <a:solidFill>
                  <a:prstClr val="black"/>
                </a:solidFill>
                <a:latin typeface="Open Sans" pitchFamily="34" charset="0"/>
                <a:ea typeface="Open Sans" pitchFamily="34" charset="0"/>
                <a:cs typeface="Open Sans" pitchFamily="34" charset="0"/>
              </a:endParaRPr>
            </a:p>
          </p:txBody>
        </p:sp>
        <p:sp>
          <p:nvSpPr>
            <p:cNvPr id="52" name="Rectangle 22"/>
            <p:cNvSpPr txBox="1">
              <a:spLocks/>
            </p:cNvSpPr>
            <p:nvPr/>
          </p:nvSpPr>
          <p:spPr>
            <a:xfrm>
              <a:off x="3939193" y="1686973"/>
              <a:ext cx="231879" cy="1742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HIV</a:t>
              </a:r>
            </a:p>
          </p:txBody>
        </p:sp>
        <p:sp>
          <p:nvSpPr>
            <p:cNvPr id="53" name="Rectangle 22"/>
            <p:cNvSpPr txBox="1">
              <a:spLocks/>
            </p:cNvSpPr>
            <p:nvPr/>
          </p:nvSpPr>
          <p:spPr>
            <a:xfrm>
              <a:off x="3929413" y="766667"/>
              <a:ext cx="2014623" cy="1569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 smtClean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Skin and soft tissue infections</a:t>
              </a:r>
              <a:endParaRPr lang="en-US" sz="1020" dirty="0">
                <a:solidFill>
                  <a:prstClr val="black"/>
                </a:solidFill>
                <a:latin typeface="Open Sans" pitchFamily="34" charset="0"/>
                <a:ea typeface="Open Sans" pitchFamily="34" charset="0"/>
                <a:cs typeface="Open Sans" pitchFamily="34" charset="0"/>
              </a:endParaRPr>
            </a:p>
          </p:txBody>
        </p:sp>
        <p:sp>
          <p:nvSpPr>
            <p:cNvPr id="55" name="Rectangle 22"/>
            <p:cNvSpPr txBox="1">
              <a:spLocks/>
            </p:cNvSpPr>
            <p:nvPr/>
          </p:nvSpPr>
          <p:spPr>
            <a:xfrm>
              <a:off x="3920380" y="2565078"/>
              <a:ext cx="2255322" cy="3139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13526" eaLnBrk="1" hangingPunct="1">
                <a:buClr>
                  <a:schemeClr val="tx2"/>
                </a:buClr>
                <a:defRPr sz="800" b="1" baseline="0">
                  <a:solidFill>
                    <a:schemeClr val="tx2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b="0" dirty="0" smtClean="0">
                  <a:solidFill>
                    <a:prstClr val="black"/>
                  </a:solidFill>
                </a:rPr>
                <a:t>Spinal decompression (without spinal fusion)</a:t>
              </a:r>
              <a:endParaRPr lang="en-US" sz="1020" b="0" dirty="0">
                <a:solidFill>
                  <a:prstClr val="black"/>
                </a:solidFill>
              </a:endParaRPr>
            </a:p>
          </p:txBody>
        </p:sp>
        <p:sp>
          <p:nvSpPr>
            <p:cNvPr id="56" name="Rectangle 22"/>
            <p:cNvSpPr txBox="1">
              <a:spLocks/>
            </p:cNvSpPr>
            <p:nvPr/>
          </p:nvSpPr>
          <p:spPr>
            <a:xfrm>
              <a:off x="3916560" y="2957807"/>
              <a:ext cx="1380186" cy="1569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 smtClean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Femur / pelvic fracture</a:t>
              </a:r>
              <a:endParaRPr lang="en-US" sz="1020" dirty="0">
                <a:solidFill>
                  <a:prstClr val="black"/>
                </a:solidFill>
                <a:latin typeface="Open Sans" pitchFamily="34" charset="0"/>
                <a:ea typeface="Open Sans" pitchFamily="34" charset="0"/>
                <a:cs typeface="Open Sans" pitchFamily="34" charset="0"/>
              </a:endParaRPr>
            </a:p>
          </p:txBody>
        </p:sp>
        <p:sp>
          <p:nvSpPr>
            <p:cNvPr id="57" name="Rectangle 22"/>
            <p:cNvSpPr txBox="1">
              <a:spLocks/>
            </p:cNvSpPr>
            <p:nvPr/>
          </p:nvSpPr>
          <p:spPr>
            <a:xfrm>
              <a:off x="3914222" y="3458284"/>
              <a:ext cx="1715213" cy="1569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Ankle </a:t>
              </a:r>
              <a:r>
                <a:rPr lang="en-US" sz="1020" dirty="0" smtClean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non-operative injuries</a:t>
              </a:r>
              <a:endParaRPr lang="en-US" sz="1020" dirty="0">
                <a:solidFill>
                  <a:prstClr val="black"/>
                </a:solidFill>
                <a:latin typeface="Open Sans" pitchFamily="34" charset="0"/>
                <a:ea typeface="Open Sans" pitchFamily="34" charset="0"/>
                <a:cs typeface="Open Sans" pitchFamily="34" charset="0"/>
              </a:endParaRPr>
            </a:p>
          </p:txBody>
        </p:sp>
        <p:sp>
          <p:nvSpPr>
            <p:cNvPr id="58" name="Rectangle 22"/>
            <p:cNvSpPr txBox="1">
              <a:spLocks/>
            </p:cNvSpPr>
            <p:nvPr/>
          </p:nvSpPr>
          <p:spPr>
            <a:xfrm>
              <a:off x="3925264" y="2366771"/>
              <a:ext cx="1954015" cy="1755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 smtClean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Spinal fusion</a:t>
              </a:r>
              <a:endParaRPr lang="en-US" sz="1020" dirty="0">
                <a:solidFill>
                  <a:prstClr val="black"/>
                </a:solidFill>
                <a:latin typeface="Open Sans" pitchFamily="34" charset="0"/>
                <a:ea typeface="Open Sans" pitchFamily="34" charset="0"/>
                <a:cs typeface="Open Sans" pitchFamily="34" charset="0"/>
              </a:endParaRPr>
            </a:p>
          </p:txBody>
        </p:sp>
        <p:sp>
          <p:nvSpPr>
            <p:cNvPr id="59" name="Rectangle 22"/>
            <p:cNvSpPr txBox="1">
              <a:spLocks/>
            </p:cNvSpPr>
            <p:nvPr/>
          </p:nvSpPr>
          <p:spPr>
            <a:xfrm>
              <a:off x="3920380" y="3198254"/>
              <a:ext cx="1176963" cy="1742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Knee arthroscopy</a:t>
              </a:r>
            </a:p>
          </p:txBody>
        </p:sp>
        <p:sp>
          <p:nvSpPr>
            <p:cNvPr id="60" name="Rectangle 22"/>
            <p:cNvSpPr txBox="1">
              <a:spLocks/>
            </p:cNvSpPr>
            <p:nvPr/>
          </p:nvSpPr>
          <p:spPr>
            <a:xfrm>
              <a:off x="3912130" y="4868018"/>
              <a:ext cx="512961" cy="1569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 smtClean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Syncope</a:t>
              </a:r>
              <a:endParaRPr lang="en-US" sz="1020" dirty="0">
                <a:solidFill>
                  <a:prstClr val="black"/>
                </a:solidFill>
                <a:latin typeface="Open Sans" pitchFamily="34" charset="0"/>
                <a:ea typeface="Open Sans" pitchFamily="34" charset="0"/>
                <a:cs typeface="Open Sans" pitchFamily="34" charset="0"/>
              </a:endParaRPr>
            </a:p>
          </p:txBody>
        </p:sp>
        <p:sp>
          <p:nvSpPr>
            <p:cNvPr id="62" name="Rectangle 22"/>
            <p:cNvSpPr txBox="1">
              <a:spLocks/>
            </p:cNvSpPr>
            <p:nvPr/>
          </p:nvSpPr>
          <p:spPr>
            <a:xfrm>
              <a:off x="3921279" y="5931097"/>
              <a:ext cx="846386" cy="1569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 smtClean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Hysterectomy</a:t>
              </a:r>
              <a:endParaRPr lang="en-US" sz="1020" dirty="0">
                <a:solidFill>
                  <a:prstClr val="black"/>
                </a:solidFill>
                <a:latin typeface="Open Sans" pitchFamily="34" charset="0"/>
                <a:ea typeface="Open Sans" pitchFamily="34" charset="0"/>
                <a:cs typeface="Open Sans" pitchFamily="34" charset="0"/>
              </a:endParaRPr>
            </a:p>
          </p:txBody>
        </p:sp>
        <p:sp>
          <p:nvSpPr>
            <p:cNvPr id="63" name="Rectangle 22"/>
            <p:cNvSpPr txBox="1">
              <a:spLocks/>
            </p:cNvSpPr>
            <p:nvPr/>
          </p:nvSpPr>
          <p:spPr>
            <a:xfrm>
              <a:off x="3924578" y="5068914"/>
              <a:ext cx="1665521" cy="1569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 smtClean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Hyponatremia/dehydration</a:t>
              </a:r>
              <a:endParaRPr lang="en-US" sz="1020" dirty="0">
                <a:solidFill>
                  <a:prstClr val="black"/>
                </a:solidFill>
                <a:latin typeface="Open Sans" pitchFamily="34" charset="0"/>
                <a:ea typeface="Open Sans" pitchFamily="34" charset="0"/>
                <a:cs typeface="Open Sans" pitchFamily="34" charset="0"/>
              </a:endParaRPr>
            </a:p>
          </p:txBody>
        </p:sp>
        <p:cxnSp>
          <p:nvCxnSpPr>
            <p:cNvPr id="65" name="Straight Connector 64"/>
            <p:cNvCxnSpPr>
              <a:cxnSpLocks/>
            </p:cNvCxnSpPr>
            <p:nvPr/>
          </p:nvCxnSpPr>
          <p:spPr>
            <a:xfrm>
              <a:off x="3034323" y="2289255"/>
              <a:ext cx="285715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/>
            <p:nvPr/>
          </p:nvCxnSpPr>
          <p:spPr>
            <a:xfrm>
              <a:off x="3494807" y="4612892"/>
              <a:ext cx="2449229" cy="0"/>
            </a:xfrm>
            <a:prstGeom prst="line">
              <a:avLst/>
            </a:prstGeom>
            <a:ln>
              <a:solidFill>
                <a:schemeClr val="tx1"/>
              </a:solidFill>
              <a:prstDash val="sysDot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68" name="Rectangle 22"/>
            <p:cNvSpPr txBox="1">
              <a:spLocks/>
            </p:cNvSpPr>
            <p:nvPr/>
          </p:nvSpPr>
          <p:spPr>
            <a:xfrm>
              <a:off x="3923884" y="4662024"/>
              <a:ext cx="827150" cy="1569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 smtClean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Acute Seizure</a:t>
              </a:r>
              <a:endParaRPr lang="en-US" sz="1020" dirty="0">
                <a:solidFill>
                  <a:prstClr val="black"/>
                </a:solidFill>
                <a:latin typeface="Open Sans" pitchFamily="34" charset="0"/>
                <a:ea typeface="Open Sans" pitchFamily="34" charset="0"/>
                <a:cs typeface="Open Sans" pitchFamily="34" charset="0"/>
              </a:endParaRPr>
            </a:p>
          </p:txBody>
        </p:sp>
        <p:sp>
          <p:nvSpPr>
            <p:cNvPr id="69" name="Rectangle 22"/>
            <p:cNvSpPr txBox="1">
              <a:spLocks/>
            </p:cNvSpPr>
            <p:nvPr/>
          </p:nvSpPr>
          <p:spPr>
            <a:xfrm>
              <a:off x="3926064" y="6155344"/>
              <a:ext cx="867225" cy="1569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 smtClean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GI obstruction</a:t>
              </a:r>
              <a:endParaRPr lang="en-US" sz="1020" dirty="0">
                <a:solidFill>
                  <a:prstClr val="black"/>
                </a:solidFill>
                <a:latin typeface="Open Sans" pitchFamily="34" charset="0"/>
                <a:ea typeface="Open Sans" pitchFamily="34" charset="0"/>
                <a:cs typeface="Open Sans" pitchFamily="34" charset="0"/>
              </a:endParaRPr>
            </a:p>
          </p:txBody>
        </p:sp>
        <p:sp>
          <p:nvSpPr>
            <p:cNvPr id="70" name="Rectangle 22"/>
            <p:cNvSpPr txBox="1">
              <a:spLocks/>
            </p:cNvSpPr>
            <p:nvPr/>
          </p:nvSpPr>
          <p:spPr>
            <a:xfrm>
              <a:off x="1026604" y="5219801"/>
              <a:ext cx="1572661" cy="170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Breast biopsy</a:t>
              </a:r>
            </a:p>
          </p:txBody>
        </p:sp>
        <p:sp>
          <p:nvSpPr>
            <p:cNvPr id="73" name="TextBox 14"/>
            <p:cNvSpPr txBox="1">
              <a:spLocks/>
            </p:cNvSpPr>
            <p:nvPr>
              <p:custDataLst>
                <p:tags r:id="rId13"/>
              </p:custDataLst>
            </p:nvPr>
          </p:nvSpPr>
          <p:spPr>
            <a:xfrm>
              <a:off x="3031964" y="755845"/>
              <a:ext cx="419796" cy="1496932"/>
            </a:xfrm>
            <a:prstGeom prst="rect">
              <a:avLst/>
            </a:prstGeom>
            <a:solidFill>
              <a:schemeClr val="tx2"/>
            </a:solidFill>
            <a:ln w="9525">
              <a:noFill/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76193" tIns="76193" rIns="76193" bIns="76193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rgbClr val="1B365D"/>
                </a:buClr>
              </a:pPr>
              <a:r>
                <a:rPr lang="en-US" sz="1020" b="1" dirty="0">
                  <a:solidFill>
                    <a:prstClr val="white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2016</a:t>
              </a:r>
            </a:p>
          </p:txBody>
        </p:sp>
        <p:sp>
          <p:nvSpPr>
            <p:cNvPr id="74" name="TextBox 14"/>
            <p:cNvSpPr txBox="1">
              <a:spLocks/>
            </p:cNvSpPr>
            <p:nvPr>
              <p:custDataLst>
                <p:tags r:id="rId14"/>
              </p:custDataLst>
            </p:nvPr>
          </p:nvSpPr>
          <p:spPr>
            <a:xfrm>
              <a:off x="3518450" y="755844"/>
              <a:ext cx="314848" cy="1496933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>
              <a:noFill/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76193" tIns="76193" rIns="76193" bIns="76193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algn="ctr" defTabSz="913526" eaLnBrk="1" hangingPunct="1">
                <a:buClr>
                  <a:schemeClr val="tx2"/>
                </a:buClr>
                <a:defRPr sz="800" b="1" baseline="0">
                  <a:solidFill>
                    <a:schemeClr val="bg1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/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/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/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>
                  <a:solidFill>
                    <a:prstClr val="white"/>
                  </a:solidFill>
                </a:rPr>
                <a:t>6</a:t>
              </a:r>
            </a:p>
          </p:txBody>
        </p:sp>
        <p:sp>
          <p:nvSpPr>
            <p:cNvPr id="75" name="TextBox 14"/>
            <p:cNvSpPr txBox="1">
              <a:spLocks/>
            </p:cNvSpPr>
            <p:nvPr>
              <p:custDataLst>
                <p:tags r:id="rId15"/>
              </p:custDataLst>
            </p:nvPr>
          </p:nvSpPr>
          <p:spPr>
            <a:xfrm>
              <a:off x="3028236" y="2335592"/>
              <a:ext cx="409735" cy="4390885"/>
            </a:xfrm>
            <a:prstGeom prst="rect">
              <a:avLst/>
            </a:prstGeom>
            <a:solidFill>
              <a:schemeClr val="tx2"/>
            </a:solidFill>
            <a:ln w="9525">
              <a:noFill/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76193" tIns="76193" rIns="76193" bIns="76193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rgbClr val="1B365D"/>
                </a:buClr>
              </a:pPr>
              <a:r>
                <a:rPr lang="en-US" sz="1020" b="1" dirty="0">
                  <a:solidFill>
                    <a:prstClr val="white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2017</a:t>
              </a:r>
            </a:p>
          </p:txBody>
        </p:sp>
        <p:sp>
          <p:nvSpPr>
            <p:cNvPr id="76" name="TextBox 14"/>
            <p:cNvSpPr txBox="1">
              <a:spLocks/>
            </p:cNvSpPr>
            <p:nvPr>
              <p:custDataLst>
                <p:tags r:id="rId16"/>
              </p:custDataLst>
            </p:nvPr>
          </p:nvSpPr>
          <p:spPr>
            <a:xfrm>
              <a:off x="3494230" y="2335592"/>
              <a:ext cx="314848" cy="2240095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>
              <a:noFill/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76193" tIns="76193" rIns="76193" bIns="76193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algn="ctr" defTabSz="913526" eaLnBrk="1" hangingPunct="1">
                <a:buClr>
                  <a:schemeClr val="tx2"/>
                </a:buClr>
                <a:defRPr sz="800" b="1" baseline="0">
                  <a:solidFill>
                    <a:schemeClr val="bg1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/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/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/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>
                  <a:solidFill>
                    <a:prstClr val="white"/>
                  </a:solidFill>
                </a:rPr>
                <a:t>7</a:t>
              </a:r>
            </a:p>
          </p:txBody>
        </p:sp>
        <p:sp>
          <p:nvSpPr>
            <p:cNvPr id="78" name="Rectangle 3"/>
            <p:cNvSpPr txBox="1">
              <a:spLocks/>
            </p:cNvSpPr>
            <p:nvPr/>
          </p:nvSpPr>
          <p:spPr>
            <a:xfrm>
              <a:off x="3028236" y="393736"/>
              <a:ext cx="801333" cy="5226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b="1" dirty="0">
                  <a:solidFill>
                    <a:srgbClr val="1B365D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Design year &amp; wave</a:t>
              </a:r>
            </a:p>
          </p:txBody>
        </p:sp>
        <p:cxnSp>
          <p:nvCxnSpPr>
            <p:cNvPr id="79" name="Straight Connector 78"/>
            <p:cNvCxnSpPr>
              <a:cxnSpLocks/>
            </p:cNvCxnSpPr>
            <p:nvPr/>
          </p:nvCxnSpPr>
          <p:spPr>
            <a:xfrm>
              <a:off x="3028236" y="708301"/>
              <a:ext cx="80133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80" name="Rectangle 3"/>
            <p:cNvSpPr txBox="1"/>
            <p:nvPr/>
          </p:nvSpPr>
          <p:spPr>
            <a:xfrm>
              <a:off x="7155263" y="537509"/>
              <a:ext cx="1289684" cy="1742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b="1" dirty="0">
                  <a:solidFill>
                    <a:srgbClr val="1B365D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Episode</a:t>
              </a:r>
            </a:p>
          </p:txBody>
        </p:sp>
        <p:sp>
          <p:nvSpPr>
            <p:cNvPr id="81" name="Rectangle 22"/>
            <p:cNvSpPr txBox="1">
              <a:spLocks/>
            </p:cNvSpPr>
            <p:nvPr/>
          </p:nvSpPr>
          <p:spPr>
            <a:xfrm>
              <a:off x="7145881" y="1399668"/>
              <a:ext cx="1856792" cy="1742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Female reproductive cancer</a:t>
              </a:r>
            </a:p>
          </p:txBody>
        </p:sp>
        <p:sp>
          <p:nvSpPr>
            <p:cNvPr id="82" name="Rectangle 22"/>
            <p:cNvSpPr txBox="1">
              <a:spLocks/>
            </p:cNvSpPr>
            <p:nvPr/>
          </p:nvSpPr>
          <p:spPr>
            <a:xfrm>
              <a:off x="7138195" y="2365455"/>
              <a:ext cx="837928" cy="1742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Renal failure</a:t>
              </a:r>
            </a:p>
          </p:txBody>
        </p:sp>
        <p:sp>
          <p:nvSpPr>
            <p:cNvPr id="83" name="Rectangle 22"/>
            <p:cNvSpPr txBox="1">
              <a:spLocks/>
            </p:cNvSpPr>
            <p:nvPr/>
          </p:nvSpPr>
          <p:spPr>
            <a:xfrm>
              <a:off x="3935950" y="1891513"/>
              <a:ext cx="783471" cy="1742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Pancreatitis</a:t>
              </a:r>
            </a:p>
          </p:txBody>
        </p:sp>
        <p:sp>
          <p:nvSpPr>
            <p:cNvPr id="87" name="Rectangle 22"/>
            <p:cNvSpPr txBox="1">
              <a:spLocks/>
            </p:cNvSpPr>
            <p:nvPr/>
          </p:nvSpPr>
          <p:spPr>
            <a:xfrm>
              <a:off x="7152845" y="975397"/>
              <a:ext cx="1480866" cy="1742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Lung cancer (multiple)</a:t>
              </a:r>
            </a:p>
          </p:txBody>
        </p:sp>
        <p:sp>
          <p:nvSpPr>
            <p:cNvPr id="89" name="Rectangle 22"/>
            <p:cNvSpPr txBox="1">
              <a:spLocks/>
            </p:cNvSpPr>
            <p:nvPr/>
          </p:nvSpPr>
          <p:spPr>
            <a:xfrm>
              <a:off x="7138195" y="2594055"/>
              <a:ext cx="1932327" cy="1742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Other major bowel (multiple)</a:t>
              </a:r>
            </a:p>
          </p:txBody>
        </p:sp>
        <p:sp>
          <p:nvSpPr>
            <p:cNvPr id="90" name="Rectangle 22"/>
            <p:cNvSpPr txBox="1">
              <a:spLocks/>
            </p:cNvSpPr>
            <p:nvPr/>
          </p:nvSpPr>
          <p:spPr>
            <a:xfrm>
              <a:off x="7145988" y="1628680"/>
              <a:ext cx="1677612" cy="1742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Liver &amp; pancreatic cancer</a:t>
              </a:r>
            </a:p>
          </p:txBody>
        </p:sp>
        <p:sp>
          <p:nvSpPr>
            <p:cNvPr id="91" name="Rectangle 22"/>
            <p:cNvSpPr txBox="1">
              <a:spLocks/>
            </p:cNvSpPr>
            <p:nvPr/>
          </p:nvSpPr>
          <p:spPr>
            <a:xfrm>
              <a:off x="7141198" y="3109670"/>
              <a:ext cx="1686394" cy="1742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GERD acute exacerbation</a:t>
              </a:r>
            </a:p>
          </p:txBody>
        </p:sp>
        <p:sp>
          <p:nvSpPr>
            <p:cNvPr id="92" name="Rectangle 22"/>
            <p:cNvSpPr txBox="1">
              <a:spLocks/>
            </p:cNvSpPr>
            <p:nvPr/>
          </p:nvSpPr>
          <p:spPr>
            <a:xfrm>
              <a:off x="7147770" y="1873929"/>
              <a:ext cx="1196287" cy="1742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13526" eaLnBrk="1" hangingPunct="1">
                <a:buClr>
                  <a:schemeClr val="tx2"/>
                </a:buClr>
                <a:defRPr sz="800" b="1" baseline="0">
                  <a:solidFill>
                    <a:schemeClr val="tx2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b="0" dirty="0">
                  <a:solidFill>
                    <a:prstClr val="black"/>
                  </a:solidFill>
                </a:rPr>
                <a:t>Drug dependence</a:t>
              </a:r>
            </a:p>
          </p:txBody>
        </p:sp>
        <p:sp>
          <p:nvSpPr>
            <p:cNvPr id="94" name="Rectangle 22"/>
            <p:cNvSpPr txBox="1">
              <a:spLocks/>
            </p:cNvSpPr>
            <p:nvPr/>
          </p:nvSpPr>
          <p:spPr>
            <a:xfrm>
              <a:off x="7148101" y="3889455"/>
              <a:ext cx="1382493" cy="1742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Rheumatoid arthritis</a:t>
              </a:r>
            </a:p>
          </p:txBody>
        </p:sp>
        <p:sp>
          <p:nvSpPr>
            <p:cNvPr id="95" name="Rectangle 22"/>
            <p:cNvSpPr txBox="1">
              <a:spLocks/>
            </p:cNvSpPr>
            <p:nvPr/>
          </p:nvSpPr>
          <p:spPr>
            <a:xfrm>
              <a:off x="7152845" y="766607"/>
              <a:ext cx="1159396" cy="1742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13526" eaLnBrk="1" hangingPunct="1">
                <a:buClr>
                  <a:schemeClr val="tx2"/>
                </a:buClr>
                <a:defRPr sz="800" b="1" baseline="0">
                  <a:solidFill>
                    <a:schemeClr val="tx2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b="0" dirty="0">
                  <a:solidFill>
                    <a:prstClr val="black"/>
                  </a:solidFill>
                </a:rPr>
                <a:t>Conduct disorder</a:t>
              </a:r>
            </a:p>
          </p:txBody>
        </p:sp>
        <p:sp>
          <p:nvSpPr>
            <p:cNvPr id="96" name="Rectangle 22"/>
            <p:cNvSpPr txBox="1">
              <a:spLocks/>
            </p:cNvSpPr>
            <p:nvPr/>
          </p:nvSpPr>
          <p:spPr>
            <a:xfrm>
              <a:off x="7145881" y="3372473"/>
              <a:ext cx="1935840" cy="1742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Kidney &amp; urinary tract stones</a:t>
              </a:r>
            </a:p>
          </p:txBody>
        </p:sp>
        <p:sp>
          <p:nvSpPr>
            <p:cNvPr id="97" name="Rectangle 22"/>
            <p:cNvSpPr txBox="1">
              <a:spLocks/>
            </p:cNvSpPr>
            <p:nvPr/>
          </p:nvSpPr>
          <p:spPr>
            <a:xfrm>
              <a:off x="7152845" y="4446728"/>
              <a:ext cx="1090887" cy="1742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13526" eaLnBrk="1" hangingPunct="1">
                <a:buClr>
                  <a:schemeClr val="tx2"/>
                </a:buClr>
                <a:defRPr sz="800" b="1" baseline="0">
                  <a:solidFill>
                    <a:schemeClr val="tx2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b="0" dirty="0">
                  <a:solidFill>
                    <a:prstClr val="black"/>
                  </a:solidFill>
                </a:rPr>
                <a:t>Bipolar - chronic</a:t>
              </a:r>
            </a:p>
          </p:txBody>
        </p:sp>
        <p:sp>
          <p:nvSpPr>
            <p:cNvPr id="98" name="Rectangle 22"/>
            <p:cNvSpPr txBox="1">
              <a:spLocks/>
            </p:cNvSpPr>
            <p:nvPr/>
          </p:nvSpPr>
          <p:spPr>
            <a:xfrm>
              <a:off x="7166832" y="6558524"/>
              <a:ext cx="1274388" cy="1569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 smtClean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Dermatitis / </a:t>
              </a:r>
              <a:r>
                <a:rPr lang="en-US" sz="1020" dirty="0" err="1" smtClean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Urticaria</a:t>
              </a:r>
              <a:endParaRPr lang="en-US" sz="1020" dirty="0">
                <a:solidFill>
                  <a:prstClr val="black"/>
                </a:solidFill>
                <a:latin typeface="Open Sans" pitchFamily="34" charset="0"/>
                <a:ea typeface="Open Sans" pitchFamily="34" charset="0"/>
                <a:cs typeface="Open Sans" pitchFamily="34" charset="0"/>
              </a:endParaRPr>
            </a:p>
          </p:txBody>
        </p:sp>
        <p:cxnSp>
          <p:nvCxnSpPr>
            <p:cNvPr id="100" name="Straight Connector 99"/>
            <p:cNvCxnSpPr/>
            <p:nvPr/>
          </p:nvCxnSpPr>
          <p:spPr>
            <a:xfrm>
              <a:off x="7114755" y="705462"/>
              <a:ext cx="1719368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01" name="Straight Connector 100"/>
            <p:cNvCxnSpPr>
              <a:cxnSpLocks/>
            </p:cNvCxnSpPr>
            <p:nvPr/>
          </p:nvCxnSpPr>
          <p:spPr>
            <a:xfrm>
              <a:off x="6325573" y="4118055"/>
              <a:ext cx="261804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103" name="TextBox 14"/>
            <p:cNvSpPr txBox="1">
              <a:spLocks/>
            </p:cNvSpPr>
            <p:nvPr>
              <p:custDataLst>
                <p:tags r:id="rId17"/>
              </p:custDataLst>
            </p:nvPr>
          </p:nvSpPr>
          <p:spPr>
            <a:xfrm>
              <a:off x="6325574" y="743812"/>
              <a:ext cx="348788" cy="3354009"/>
            </a:xfrm>
            <a:prstGeom prst="rect">
              <a:avLst/>
            </a:prstGeom>
            <a:solidFill>
              <a:schemeClr val="tx2"/>
            </a:solidFill>
            <a:ln w="9525">
              <a:noFill/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76193" tIns="76193" rIns="76193" bIns="76193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rgbClr val="1B365D"/>
                </a:buClr>
              </a:pPr>
              <a:r>
                <a:rPr lang="en-US" sz="1020" b="1" dirty="0">
                  <a:solidFill>
                    <a:prstClr val="white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2018</a:t>
              </a:r>
            </a:p>
          </p:txBody>
        </p:sp>
        <p:sp>
          <p:nvSpPr>
            <p:cNvPr id="104" name="TextBox 14"/>
            <p:cNvSpPr txBox="1">
              <a:spLocks/>
            </p:cNvSpPr>
            <p:nvPr>
              <p:custDataLst>
                <p:tags r:id="rId18"/>
              </p:custDataLst>
            </p:nvPr>
          </p:nvSpPr>
          <p:spPr>
            <a:xfrm>
              <a:off x="6754128" y="745483"/>
              <a:ext cx="287210" cy="1302666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>
              <a:noFill/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76193" tIns="76193" rIns="76193" bIns="76193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algn="ctr" defTabSz="913526" eaLnBrk="1" hangingPunct="1">
                <a:buClr>
                  <a:schemeClr val="tx2"/>
                </a:buClr>
                <a:defRPr sz="800" b="1" baseline="0">
                  <a:solidFill>
                    <a:schemeClr val="bg1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/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/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/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>
                  <a:solidFill>
                    <a:prstClr val="white"/>
                  </a:solidFill>
                </a:rPr>
                <a:t>9</a:t>
              </a:r>
            </a:p>
          </p:txBody>
        </p:sp>
        <p:sp>
          <p:nvSpPr>
            <p:cNvPr id="105" name="TextBox 14"/>
            <p:cNvSpPr txBox="1">
              <a:spLocks/>
            </p:cNvSpPr>
            <p:nvPr>
              <p:custDataLst>
                <p:tags r:id="rId19"/>
              </p:custDataLst>
            </p:nvPr>
          </p:nvSpPr>
          <p:spPr>
            <a:xfrm>
              <a:off x="6738611" y="2136855"/>
              <a:ext cx="314849" cy="1960966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>
              <a:noFill/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76193" tIns="76193" rIns="76193" bIns="76193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rgbClr val="1B365D"/>
                </a:buClr>
              </a:pPr>
              <a:r>
                <a:rPr lang="en-US" sz="1020" b="1" dirty="0">
                  <a:solidFill>
                    <a:prstClr val="white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10</a:t>
              </a:r>
            </a:p>
          </p:txBody>
        </p:sp>
        <p:sp>
          <p:nvSpPr>
            <p:cNvPr id="106" name="TextBox 14"/>
            <p:cNvSpPr txBox="1">
              <a:spLocks/>
            </p:cNvSpPr>
            <p:nvPr>
              <p:custDataLst>
                <p:tags r:id="rId20"/>
              </p:custDataLst>
            </p:nvPr>
          </p:nvSpPr>
          <p:spPr>
            <a:xfrm>
              <a:off x="6325573" y="4186527"/>
              <a:ext cx="348789" cy="2539949"/>
            </a:xfrm>
            <a:prstGeom prst="rect">
              <a:avLst/>
            </a:prstGeom>
            <a:solidFill>
              <a:schemeClr val="tx2"/>
            </a:solidFill>
            <a:ln w="9525">
              <a:noFill/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76193" tIns="76193" rIns="76193" bIns="76193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rgbClr val="1B365D"/>
                </a:buClr>
              </a:pPr>
              <a:r>
                <a:rPr lang="en-US" sz="1020" b="1" dirty="0">
                  <a:solidFill>
                    <a:prstClr val="white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2019</a:t>
              </a:r>
            </a:p>
          </p:txBody>
        </p:sp>
        <p:sp>
          <p:nvSpPr>
            <p:cNvPr id="107" name="TextBox 14"/>
            <p:cNvSpPr txBox="1">
              <a:spLocks/>
            </p:cNvSpPr>
            <p:nvPr>
              <p:custDataLst>
                <p:tags r:id="rId21"/>
              </p:custDataLst>
            </p:nvPr>
          </p:nvSpPr>
          <p:spPr>
            <a:xfrm>
              <a:off x="6754128" y="4186527"/>
              <a:ext cx="332938" cy="2539950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>
              <a:noFill/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76193" tIns="76193" rIns="76193" bIns="76193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rgbClr val="1B365D"/>
                </a:buClr>
              </a:pPr>
              <a:r>
                <a:rPr lang="en-US" sz="1020" b="1" dirty="0">
                  <a:solidFill>
                    <a:prstClr val="white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11</a:t>
              </a:r>
            </a:p>
          </p:txBody>
        </p:sp>
        <p:sp>
          <p:nvSpPr>
            <p:cNvPr id="108" name="Rectangle 3"/>
            <p:cNvSpPr txBox="1">
              <a:spLocks/>
            </p:cNvSpPr>
            <p:nvPr/>
          </p:nvSpPr>
          <p:spPr>
            <a:xfrm>
              <a:off x="6290027" y="385488"/>
              <a:ext cx="801333" cy="5226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b="1" dirty="0">
                  <a:solidFill>
                    <a:srgbClr val="1B365D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Design year &amp; wave</a:t>
              </a:r>
            </a:p>
          </p:txBody>
        </p:sp>
        <p:cxnSp>
          <p:nvCxnSpPr>
            <p:cNvPr id="109" name="Straight Connector 108"/>
            <p:cNvCxnSpPr>
              <a:cxnSpLocks/>
            </p:cNvCxnSpPr>
            <p:nvPr/>
          </p:nvCxnSpPr>
          <p:spPr>
            <a:xfrm>
              <a:off x="6293751" y="711728"/>
              <a:ext cx="74758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111" name="Rectangle 22"/>
            <p:cNvSpPr txBox="1">
              <a:spLocks/>
            </p:cNvSpPr>
            <p:nvPr/>
          </p:nvSpPr>
          <p:spPr>
            <a:xfrm>
              <a:off x="7160680" y="4697601"/>
              <a:ext cx="1898951" cy="1742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13526" eaLnBrk="1" hangingPunct="1">
                <a:buClr>
                  <a:schemeClr val="tx2"/>
                </a:buClr>
                <a:defRPr sz="800" b="1" baseline="0">
                  <a:solidFill>
                    <a:schemeClr val="tx2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b="0" dirty="0">
                  <a:solidFill>
                    <a:prstClr val="black"/>
                  </a:solidFill>
                </a:rPr>
                <a:t>Bipolar – acute exacerbation</a:t>
              </a:r>
            </a:p>
          </p:txBody>
        </p:sp>
        <p:sp>
          <p:nvSpPr>
            <p:cNvPr id="112" name="Rectangle 22"/>
            <p:cNvSpPr txBox="1">
              <a:spLocks/>
            </p:cNvSpPr>
            <p:nvPr/>
          </p:nvSpPr>
          <p:spPr>
            <a:xfrm>
              <a:off x="1056243" y="2316560"/>
              <a:ext cx="1007189" cy="170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PCI </a:t>
              </a:r>
              <a:r>
                <a:rPr lang="en-US" sz="1020" dirty="0" smtClean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– non acute</a:t>
              </a:r>
              <a:endParaRPr lang="en-US" sz="1020" dirty="0">
                <a:solidFill>
                  <a:prstClr val="black"/>
                </a:solidFill>
                <a:latin typeface="Open Sans" pitchFamily="34" charset="0"/>
                <a:ea typeface="Open Sans" pitchFamily="34" charset="0"/>
                <a:cs typeface="Open Sans" pitchFamily="34" charset="0"/>
              </a:endParaRPr>
            </a:p>
          </p:txBody>
        </p:sp>
        <p:sp>
          <p:nvSpPr>
            <p:cNvPr id="113" name="Rectangle 22"/>
            <p:cNvSpPr txBox="1">
              <a:spLocks/>
            </p:cNvSpPr>
            <p:nvPr/>
          </p:nvSpPr>
          <p:spPr>
            <a:xfrm>
              <a:off x="1056243" y="3677850"/>
              <a:ext cx="948652" cy="1707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UTI </a:t>
              </a:r>
              <a:r>
                <a:rPr lang="en-US" sz="1020" dirty="0" smtClean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– inpatient</a:t>
              </a:r>
              <a:endParaRPr lang="en-US" sz="1020" dirty="0">
                <a:solidFill>
                  <a:prstClr val="black"/>
                </a:solidFill>
                <a:latin typeface="Open Sans" pitchFamily="34" charset="0"/>
                <a:ea typeface="Open Sans" pitchFamily="34" charset="0"/>
                <a:cs typeface="Open Sans" pitchFamily="34" charset="0"/>
              </a:endParaRPr>
            </a:p>
          </p:txBody>
        </p:sp>
        <p:cxnSp>
          <p:nvCxnSpPr>
            <p:cNvPr id="119" name="Straight Connector 118"/>
            <p:cNvCxnSpPr/>
            <p:nvPr/>
          </p:nvCxnSpPr>
          <p:spPr>
            <a:xfrm>
              <a:off x="617365" y="3873437"/>
              <a:ext cx="2127951" cy="0"/>
            </a:xfrm>
            <a:prstGeom prst="line">
              <a:avLst/>
            </a:prstGeom>
            <a:ln>
              <a:solidFill>
                <a:schemeClr val="tx1"/>
              </a:solidFill>
              <a:prstDash val="sysDot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20" name="Straight Connector 119"/>
            <p:cNvCxnSpPr/>
            <p:nvPr/>
          </p:nvCxnSpPr>
          <p:spPr>
            <a:xfrm>
              <a:off x="3963464" y="707619"/>
              <a:ext cx="181931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121" name="Rectangle 22"/>
            <p:cNvSpPr txBox="1">
              <a:spLocks/>
            </p:cNvSpPr>
            <p:nvPr/>
          </p:nvSpPr>
          <p:spPr>
            <a:xfrm>
              <a:off x="1026604" y="5684466"/>
              <a:ext cx="1801313" cy="1569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 smtClean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Breast cancer, Mastectomy</a:t>
              </a:r>
              <a:endParaRPr lang="en-US" sz="1020" dirty="0">
                <a:solidFill>
                  <a:prstClr val="black"/>
                </a:solidFill>
                <a:latin typeface="Open Sans" pitchFamily="34" charset="0"/>
                <a:ea typeface="Open Sans" pitchFamily="34" charset="0"/>
                <a:cs typeface="Open Sans" pitchFamily="34" charset="0"/>
              </a:endParaRPr>
            </a:p>
          </p:txBody>
        </p:sp>
        <p:sp>
          <p:nvSpPr>
            <p:cNvPr id="117" name="Rectangle 22"/>
            <p:cNvSpPr txBox="1">
              <a:spLocks/>
            </p:cNvSpPr>
            <p:nvPr/>
          </p:nvSpPr>
          <p:spPr>
            <a:xfrm>
              <a:off x="3926064" y="6371070"/>
              <a:ext cx="926536" cy="1569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913526" eaLnBrk="1" hangingPunct="1">
                <a:buClr>
                  <a:schemeClr val="tx2"/>
                </a:buClr>
                <a:defRPr sz="800" b="1" baseline="0">
                  <a:solidFill>
                    <a:schemeClr val="tx2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b="0" dirty="0" smtClean="0">
                  <a:solidFill>
                    <a:prstClr val="black"/>
                  </a:solidFill>
                </a:rPr>
                <a:t>Appendectomy</a:t>
              </a:r>
              <a:endParaRPr lang="en-US" sz="1020" b="0" dirty="0">
                <a:solidFill>
                  <a:prstClr val="black"/>
                </a:solidFill>
              </a:endParaRPr>
            </a:p>
          </p:txBody>
        </p:sp>
        <p:cxnSp>
          <p:nvCxnSpPr>
            <p:cNvPr id="125" name="Straight Connector 124"/>
            <p:cNvCxnSpPr>
              <a:cxnSpLocks/>
            </p:cNvCxnSpPr>
            <p:nvPr/>
          </p:nvCxnSpPr>
          <p:spPr>
            <a:xfrm>
              <a:off x="162242" y="2539824"/>
              <a:ext cx="264897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26" name="Straight Connector 125"/>
            <p:cNvCxnSpPr>
              <a:cxnSpLocks/>
            </p:cNvCxnSpPr>
            <p:nvPr/>
          </p:nvCxnSpPr>
          <p:spPr>
            <a:xfrm>
              <a:off x="147946" y="5160797"/>
              <a:ext cx="264897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127" name="Rectangle 22"/>
            <p:cNvSpPr txBox="1">
              <a:spLocks/>
            </p:cNvSpPr>
            <p:nvPr/>
          </p:nvSpPr>
          <p:spPr>
            <a:xfrm>
              <a:off x="3915807" y="3697091"/>
              <a:ext cx="1692771" cy="1569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 smtClean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Wrist </a:t>
              </a:r>
              <a:r>
                <a:rPr lang="en-US" sz="1020" dirty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non-operative injuries</a:t>
              </a:r>
            </a:p>
          </p:txBody>
        </p:sp>
        <p:sp>
          <p:nvSpPr>
            <p:cNvPr id="114" name="Rectangle 22"/>
            <p:cNvSpPr txBox="1">
              <a:spLocks/>
            </p:cNvSpPr>
            <p:nvPr/>
          </p:nvSpPr>
          <p:spPr>
            <a:xfrm>
              <a:off x="3912130" y="3921422"/>
              <a:ext cx="1926810" cy="1569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 smtClean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Shoulder </a:t>
              </a:r>
              <a:r>
                <a:rPr lang="en-US" sz="1020" dirty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non-operative injuries</a:t>
              </a:r>
            </a:p>
          </p:txBody>
        </p:sp>
        <p:sp>
          <p:nvSpPr>
            <p:cNvPr id="115" name="Rectangle 22"/>
            <p:cNvSpPr txBox="1">
              <a:spLocks/>
            </p:cNvSpPr>
            <p:nvPr/>
          </p:nvSpPr>
          <p:spPr>
            <a:xfrm>
              <a:off x="3915763" y="4168154"/>
              <a:ext cx="1683153" cy="1569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 smtClean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Knee </a:t>
              </a:r>
              <a:r>
                <a:rPr lang="en-US" sz="1020" dirty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non-operative injuries</a:t>
              </a:r>
            </a:p>
          </p:txBody>
        </p:sp>
        <p:sp>
          <p:nvSpPr>
            <p:cNvPr id="118" name="Rectangle 22"/>
            <p:cNvSpPr txBox="1">
              <a:spLocks/>
            </p:cNvSpPr>
            <p:nvPr/>
          </p:nvSpPr>
          <p:spPr>
            <a:xfrm>
              <a:off x="3905450" y="4415034"/>
              <a:ext cx="1008289" cy="1569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 smtClean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Back / Neck pain</a:t>
              </a:r>
              <a:endParaRPr lang="en-US" sz="1020" dirty="0">
                <a:solidFill>
                  <a:prstClr val="black"/>
                </a:solidFill>
                <a:latin typeface="Open Sans" pitchFamily="34" charset="0"/>
                <a:ea typeface="Open Sans" pitchFamily="34" charset="0"/>
                <a:cs typeface="Open Sans" pitchFamily="34" charset="0"/>
              </a:endParaRPr>
            </a:p>
          </p:txBody>
        </p:sp>
        <p:sp>
          <p:nvSpPr>
            <p:cNvPr id="116" name="Rectangle 22"/>
            <p:cNvSpPr txBox="1">
              <a:spLocks/>
            </p:cNvSpPr>
            <p:nvPr/>
          </p:nvSpPr>
          <p:spPr>
            <a:xfrm>
              <a:off x="3926958" y="1237620"/>
              <a:ext cx="1837041" cy="1569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 smtClean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Neonatal (Age 32 to 36 weeks)</a:t>
              </a:r>
              <a:endParaRPr lang="en-US" sz="1020" dirty="0">
                <a:solidFill>
                  <a:prstClr val="black"/>
                </a:solidFill>
                <a:latin typeface="Open Sans" pitchFamily="34" charset="0"/>
                <a:ea typeface="Open Sans" pitchFamily="34" charset="0"/>
                <a:cs typeface="Open Sans" pitchFamily="34" charset="0"/>
              </a:endParaRPr>
            </a:p>
          </p:txBody>
        </p:sp>
        <p:sp>
          <p:nvSpPr>
            <p:cNvPr id="122" name="Rectangle 22"/>
            <p:cNvSpPr txBox="1">
              <a:spLocks/>
            </p:cNvSpPr>
            <p:nvPr/>
          </p:nvSpPr>
          <p:spPr>
            <a:xfrm>
              <a:off x="3932948" y="1478595"/>
              <a:ext cx="2136803" cy="1569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1B365D"/>
                </a:buClr>
              </a:pPr>
              <a:r>
                <a:rPr lang="en-US" sz="1020" dirty="0" smtClean="0">
                  <a:solidFill>
                    <a:prstClr val="black"/>
                  </a:solidFill>
                  <a:latin typeface="Open Sans" pitchFamily="34" charset="0"/>
                  <a:ea typeface="Open Sans" pitchFamily="34" charset="0"/>
                  <a:cs typeface="Open Sans" pitchFamily="34" charset="0"/>
                </a:rPr>
                <a:t>Neonatal (Age 37 weeks or greater)</a:t>
              </a:r>
              <a:endParaRPr lang="en-US" sz="1020" dirty="0">
                <a:solidFill>
                  <a:prstClr val="black"/>
                </a:solidFill>
                <a:latin typeface="Open Sans" pitchFamily="34" charset="0"/>
                <a:ea typeface="Open Sans" pitchFamily="34" charset="0"/>
                <a:cs typeface="Open Sans" pitchFamily="34" charset="0"/>
              </a:endParaRPr>
            </a:p>
          </p:txBody>
        </p:sp>
      </p:grpSp>
      <p:sp>
        <p:nvSpPr>
          <p:cNvPr id="123" name="Rectangle 22"/>
          <p:cNvSpPr txBox="1">
            <a:spLocks/>
          </p:cNvSpPr>
          <p:nvPr/>
        </p:nvSpPr>
        <p:spPr>
          <a:xfrm>
            <a:off x="7074894" y="4960648"/>
            <a:ext cx="317395" cy="15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1B365D"/>
              </a:buClr>
            </a:pPr>
            <a:r>
              <a:rPr lang="en-US" sz="1020" dirty="0" smtClean="0">
                <a:solidFill>
                  <a:prstClr val="black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TSD</a:t>
            </a:r>
            <a:endParaRPr lang="en-US" sz="1020" dirty="0">
              <a:solidFill>
                <a:prstClr val="black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872221" y="6267476"/>
            <a:ext cx="1986457" cy="2492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1B365D"/>
              </a:buClr>
            </a:pPr>
            <a:r>
              <a:rPr lang="en-US" sz="1020" dirty="0">
                <a:solidFill>
                  <a:prstClr val="black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n-emergent depression</a:t>
            </a:r>
          </a:p>
        </p:txBody>
      </p:sp>
      <p:sp>
        <p:nvSpPr>
          <p:cNvPr id="124" name="Rectangle 22"/>
          <p:cNvSpPr txBox="1">
            <a:spLocks/>
          </p:cNvSpPr>
          <p:nvPr/>
        </p:nvSpPr>
        <p:spPr>
          <a:xfrm>
            <a:off x="7079300" y="5493078"/>
            <a:ext cx="913464" cy="174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1B365D"/>
              </a:buClr>
            </a:pPr>
            <a:r>
              <a:rPr lang="en-US" sz="1020" dirty="0">
                <a:solidFill>
                  <a:prstClr val="black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AD &amp; angina</a:t>
            </a:r>
          </a:p>
        </p:txBody>
      </p:sp>
      <p:sp>
        <p:nvSpPr>
          <p:cNvPr id="128" name="Rectangle 22"/>
          <p:cNvSpPr txBox="1">
            <a:spLocks/>
          </p:cNvSpPr>
          <p:nvPr/>
        </p:nvSpPr>
        <p:spPr>
          <a:xfrm>
            <a:off x="7079167" y="5757906"/>
            <a:ext cx="1278850" cy="174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1B365D"/>
              </a:buClr>
            </a:pPr>
            <a:r>
              <a:rPr lang="en-US" sz="1020" dirty="0">
                <a:solidFill>
                  <a:prstClr val="black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ardiac arrhythmia</a:t>
            </a:r>
          </a:p>
        </p:txBody>
      </p:sp>
      <p:sp>
        <p:nvSpPr>
          <p:cNvPr id="129" name="Rectangle 22"/>
          <p:cNvSpPr txBox="1">
            <a:spLocks/>
          </p:cNvSpPr>
          <p:nvPr/>
        </p:nvSpPr>
        <p:spPr>
          <a:xfrm>
            <a:off x="7079167" y="5222378"/>
            <a:ext cx="1096156" cy="174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1B365D"/>
              </a:buClr>
            </a:pPr>
            <a:r>
              <a:rPr lang="en-US" sz="1020" dirty="0">
                <a:solidFill>
                  <a:prstClr val="black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Anal procedures</a:t>
            </a:r>
          </a:p>
        </p:txBody>
      </p:sp>
      <p:sp>
        <p:nvSpPr>
          <p:cNvPr id="130" name="Rectangle 22"/>
          <p:cNvSpPr txBox="1">
            <a:spLocks/>
          </p:cNvSpPr>
          <p:nvPr/>
        </p:nvSpPr>
        <p:spPr>
          <a:xfrm>
            <a:off x="3837748" y="6583541"/>
            <a:ext cx="1248987" cy="174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1B365D"/>
              </a:buClr>
            </a:pPr>
            <a:r>
              <a:rPr lang="en-US" sz="1020" dirty="0">
                <a:solidFill>
                  <a:prstClr val="black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ernia procedures</a:t>
            </a:r>
          </a:p>
        </p:txBody>
      </p:sp>
      <p:sp>
        <p:nvSpPr>
          <p:cNvPr id="131" name="Rectangle 22"/>
          <p:cNvSpPr txBox="1">
            <a:spLocks/>
          </p:cNvSpPr>
          <p:nvPr/>
        </p:nvSpPr>
        <p:spPr>
          <a:xfrm>
            <a:off x="7073455" y="2133600"/>
            <a:ext cx="637669" cy="174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1B365D"/>
              </a:buClr>
            </a:pPr>
            <a:r>
              <a:rPr lang="en-US" sz="1020" dirty="0">
                <a:solidFill>
                  <a:prstClr val="black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Sickle cell</a:t>
            </a:r>
          </a:p>
        </p:txBody>
      </p:sp>
      <p:sp>
        <p:nvSpPr>
          <p:cNvPr id="132" name="Rectangle 22"/>
          <p:cNvSpPr txBox="1">
            <a:spLocks/>
          </p:cNvSpPr>
          <p:nvPr/>
        </p:nvSpPr>
        <p:spPr>
          <a:xfrm>
            <a:off x="7071332" y="1187456"/>
            <a:ext cx="866034" cy="174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1B365D"/>
              </a:buClr>
            </a:pPr>
            <a:r>
              <a:rPr lang="en-US" sz="1020" dirty="0">
                <a:solidFill>
                  <a:prstClr val="black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Colon cancer</a:t>
            </a:r>
          </a:p>
        </p:txBody>
      </p:sp>
      <p:sp>
        <p:nvSpPr>
          <p:cNvPr id="133" name="Rectangle 22"/>
          <p:cNvSpPr txBox="1">
            <a:spLocks/>
          </p:cNvSpPr>
          <p:nvPr/>
        </p:nvSpPr>
        <p:spPr>
          <a:xfrm>
            <a:off x="7065774" y="3635781"/>
            <a:ext cx="1970973" cy="174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1B365D"/>
              </a:buClr>
            </a:pPr>
            <a:r>
              <a:rPr lang="en-US" sz="1020" dirty="0">
                <a:solidFill>
                  <a:prstClr val="black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Hemophilia &amp; other coag. dis.</a:t>
            </a:r>
          </a:p>
        </p:txBody>
      </p:sp>
      <p:sp>
        <p:nvSpPr>
          <p:cNvPr id="134" name="Rectangle 22"/>
          <p:cNvSpPr txBox="1">
            <a:spLocks/>
          </p:cNvSpPr>
          <p:nvPr/>
        </p:nvSpPr>
        <p:spPr>
          <a:xfrm>
            <a:off x="7079167" y="6298374"/>
            <a:ext cx="1668828" cy="174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526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1B365D"/>
              </a:buClr>
            </a:pPr>
            <a:r>
              <a:rPr lang="en-US" sz="1020" dirty="0">
                <a:solidFill>
                  <a:prstClr val="black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Pacemaker / Defibrillator</a:t>
            </a:r>
          </a:p>
        </p:txBody>
      </p:sp>
      <p:sp>
        <p:nvSpPr>
          <p:cNvPr id="135" name="Rectangle 22"/>
          <p:cNvSpPr txBox="1">
            <a:spLocks/>
          </p:cNvSpPr>
          <p:nvPr/>
        </p:nvSpPr>
        <p:spPr>
          <a:xfrm>
            <a:off x="7064368" y="4207332"/>
            <a:ext cx="1504718" cy="1601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913526" eaLnBrk="1" hangingPunct="1">
              <a:buClr>
                <a:schemeClr val="tx2"/>
              </a:buClr>
              <a:defRPr sz="800" b="1" baseline="0">
                <a:solidFill>
                  <a:schemeClr val="tx2"/>
                </a:solidFill>
                <a:latin typeface="Open Sans" pitchFamily="34" charset="0"/>
                <a:ea typeface="Open Sans" pitchFamily="34" charset="0"/>
                <a:cs typeface="Open Sans" pitchFamily="34" charset="0"/>
              </a:defRPr>
            </a:lvl1pPr>
            <a:lvl2pPr marL="197607" lvl="1" indent="-195987" defTabSz="913526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81" lvl="2" indent="-267255" defTabSz="913526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835" lvl="3" indent="-158733" defTabSz="913526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5029" lvl="4" indent="-132818" defTabSz="913526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1B365D"/>
              </a:buClr>
            </a:pPr>
            <a:r>
              <a:rPr lang="en-US" sz="1020" b="0" dirty="0">
                <a:solidFill>
                  <a:prstClr val="black"/>
                </a:solidFill>
              </a:rPr>
              <a:t>Schizophrenia (multiple)</a:t>
            </a:r>
          </a:p>
        </p:txBody>
      </p:sp>
    </p:spTree>
    <p:extLst>
      <p:ext uri="{BB962C8B-B14F-4D97-AF65-F5344CB8AC3E}">
        <p14:creationId xmlns:p14="http://schemas.microsoft.com/office/powerpoint/2010/main" val="2680776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33352" y="1524000"/>
            <a:ext cx="8877295" cy="5255654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33352" y="152400"/>
            <a:ext cx="8848781" cy="1200329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 smtClean="0">
                <a:solidFill>
                  <a:srgbClr val="1B365D"/>
                </a:solidFill>
                <a:latin typeface="Georgia" panose="02040502050405020303" pitchFamily="18" charset="0"/>
                <a:ea typeface="Open Sans Light" panose="020B0306030504020204" pitchFamily="34" charset="0"/>
                <a:cs typeface="PermianSlabSerifTypeface"/>
              </a:rPr>
              <a:t>Episodes estimated savings for 2015 is approximately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 smtClean="0">
                <a:solidFill>
                  <a:srgbClr val="1B365D"/>
                </a:solidFill>
                <a:latin typeface="Georgia" panose="02040502050405020303" pitchFamily="18" charset="0"/>
                <a:ea typeface="Open Sans Light" panose="020B0306030504020204" pitchFamily="34" charset="0"/>
                <a:cs typeface="PermianSlabSerifTypeface"/>
              </a:rPr>
              <a:t> </a:t>
            </a:r>
            <a:r>
              <a:rPr lang="en-US" sz="2400" b="1" u="sng" dirty="0" smtClean="0">
                <a:solidFill>
                  <a:srgbClr val="1B365D"/>
                </a:solidFill>
                <a:latin typeface="Georgia" panose="02040502050405020303" pitchFamily="18" charset="0"/>
                <a:ea typeface="Open Sans Light" panose="020B0306030504020204" pitchFamily="34" charset="0"/>
                <a:cs typeface="PermianSlabSerifTypeface"/>
              </a:rPr>
              <a:t>$10.8 million</a:t>
            </a:r>
            <a:r>
              <a:rPr lang="en-US" sz="2400" b="1" dirty="0" smtClean="0">
                <a:solidFill>
                  <a:srgbClr val="1B365D"/>
                </a:solidFill>
                <a:latin typeface="Georgia" panose="02040502050405020303" pitchFamily="18" charset="0"/>
                <a:ea typeface="Open Sans Light" panose="020B0306030504020204" pitchFamily="34" charset="0"/>
                <a:cs typeface="PermianSlabSerifTypeface"/>
              </a:rPr>
              <a:t> </a:t>
            </a:r>
            <a:r>
              <a:rPr lang="en-US" sz="2400" dirty="0" smtClean="0">
                <a:solidFill>
                  <a:srgbClr val="1B365D"/>
                </a:solidFill>
                <a:latin typeface="Georgia" panose="02040502050405020303" pitchFamily="18" charset="0"/>
                <a:ea typeface="Open Sans Light" panose="020B0306030504020204" pitchFamily="34" charset="0"/>
                <a:cs typeface="PermianSlabSerifTypeface"/>
              </a:rPr>
              <a:t>due to episodes’ risk adjusted cost being less than projected medical trend of a 3% annual increase</a:t>
            </a:r>
            <a:endParaRPr lang="en-US" sz="2400" dirty="0">
              <a:solidFill>
                <a:srgbClr val="1B365D"/>
              </a:solidFill>
              <a:latin typeface="Georgia" panose="02040502050405020303" pitchFamily="18" charset="0"/>
              <a:ea typeface="Open Sans Light" panose="020B0306030504020204" pitchFamily="34" charset="0"/>
              <a:cs typeface="PermianSlabSerifTypeface"/>
            </a:endParaRPr>
          </a:p>
        </p:txBody>
      </p:sp>
      <p:sp>
        <p:nvSpPr>
          <p:cNvPr id="11" name="Rectangle 5"/>
          <p:cNvSpPr txBox="1">
            <a:spLocks/>
          </p:cNvSpPr>
          <p:nvPr/>
        </p:nvSpPr>
        <p:spPr>
          <a:xfrm>
            <a:off x="1143000" y="1594894"/>
            <a:ext cx="6858001" cy="2339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8284" numCol="1" anchor="b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 sz="1600"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latin typeface="+mn-lt"/>
              </a:defRPr>
            </a:lvl4pPr>
            <a:lvl5pPr marL="746125" lvl="4" indent="-130175" algn="r" defTabSz="895350">
              <a:buClr>
                <a:schemeClr val="tx2"/>
              </a:buClr>
              <a:buSzPct val="89000"/>
              <a:buFont typeface="Arial" charset="0"/>
              <a:defRPr sz="700" i="1">
                <a:latin typeface="+mn-lt"/>
              </a:defRPr>
            </a:lvl5pPr>
            <a:lvl6pPr marL="12033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latin typeface="+mn-lt"/>
              </a:defRPr>
            </a:lvl6pPr>
            <a:lvl7pPr marL="16605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latin typeface="+mn-lt"/>
              </a:defRPr>
            </a:lvl7pPr>
            <a:lvl8pPr marL="21177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latin typeface="+mn-lt"/>
              </a:defRPr>
            </a:lvl8pPr>
            <a:lvl9pPr marL="2574925" indent="-130175" algn="r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defRPr sz="700" i="1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1B365D"/>
              </a:buClr>
            </a:pPr>
            <a:r>
              <a:rPr lang="en-US" sz="1400" b="1" dirty="0">
                <a:solidFill>
                  <a:srgbClr val="011D5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omparison of Projected and Actual Avg. Risk-Adjusted Episode Cost, CY </a:t>
            </a:r>
            <a:r>
              <a:rPr lang="en-US" sz="1400" b="1" dirty="0" smtClean="0">
                <a:solidFill>
                  <a:srgbClr val="011D5F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2015</a:t>
            </a:r>
            <a:endParaRPr lang="en-US" sz="1400" b="1" dirty="0">
              <a:solidFill>
                <a:srgbClr val="011D5F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9892257"/>
              </p:ext>
            </p:extLst>
          </p:nvPr>
        </p:nvGraphicFramePr>
        <p:xfrm>
          <a:off x="209553" y="1946573"/>
          <a:ext cx="8705847" cy="2759823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2D5ABB26-0587-4C30-8999-92F81FD0307C}</a:tableStyleId>
              </a:tblPr>
              <a:tblGrid>
                <a:gridCol w="2006129"/>
                <a:gridCol w="1151141"/>
                <a:gridCol w="900377"/>
                <a:gridCol w="1219200"/>
                <a:gridCol w="1082206"/>
                <a:gridCol w="1173397"/>
                <a:gridCol w="1173397"/>
              </a:tblGrid>
              <a:tr h="810781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pisode Type</a:t>
                      </a:r>
                      <a:endParaRPr lang="en-US" sz="16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jected</a:t>
                      </a:r>
                      <a:endParaRPr lang="en-US" sz="16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ual</a:t>
                      </a:r>
                      <a:endParaRPr lang="en-US" sz="16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65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stimated</a:t>
                      </a:r>
                      <a:r>
                        <a:rPr lang="en-US" sz="1400" b="1" kern="1200" baseline="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s</a:t>
                      </a:r>
                      <a:r>
                        <a:rPr lang="en-US" sz="1400" b="1" kern="12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vings</a:t>
                      </a:r>
                    </a:p>
                    <a:p>
                      <a:pPr algn="ctr"/>
                      <a:r>
                        <a:rPr lang="en-US" sz="1400" b="1" kern="1200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 Episode</a:t>
                      </a:r>
                      <a:endParaRPr lang="en-US" sz="1400" b="1" kern="120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cent</a:t>
                      </a:r>
                      <a:endParaRPr lang="en-US" sz="16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ber of Valid Episodes</a:t>
                      </a:r>
                      <a:endParaRPr lang="en-US" sz="14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 Estimated Savings</a:t>
                      </a:r>
                      <a:endParaRPr lang="en-US" sz="1400" b="1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95401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,385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0,822,268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95401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inatal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6,893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6,469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425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2%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,442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8,684,619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70550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ute Asthma</a:t>
                      </a:r>
                      <a:r>
                        <a:rPr lang="en-US" sz="1600" b="1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Exacerbation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,213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,074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39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.5%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,614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,752,446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70550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 Joint Replacement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2,481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1,310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1,171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.4%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9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385,203</a:t>
                      </a:r>
                      <a:endParaRPr 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3076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PowerPoint A">
  <a:themeElements>
    <a:clrScheme name="Brand Colors">
      <a:dk1>
        <a:sysClr val="windowText" lastClr="000000"/>
      </a:dk1>
      <a:lt1>
        <a:sysClr val="window" lastClr="FFFFFF"/>
      </a:lt1>
      <a:dk2>
        <a:srgbClr val="1B365D"/>
      </a:dk2>
      <a:lt2>
        <a:srgbClr val="FF0F00"/>
      </a:lt2>
      <a:accent1>
        <a:srgbClr val="2DCCD3"/>
      </a:accent1>
      <a:accent2>
        <a:srgbClr val="D2D755"/>
      </a:accent2>
      <a:accent3>
        <a:srgbClr val="E87722"/>
      </a:accent3>
      <a:accent4>
        <a:srgbClr val="7C2529"/>
      </a:accent4>
      <a:accent5>
        <a:srgbClr val="666666"/>
      </a:accent5>
      <a:accent6>
        <a:srgbClr val="E6D395"/>
      </a:accent6>
      <a:hlink>
        <a:srgbClr val="131E29"/>
      </a:hlink>
      <a:folHlink>
        <a:srgbClr val="CBC4B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5_TN_CF_NNJ005">
  <a:themeElements>
    <a:clrScheme name="Current">
      <a:dk1>
        <a:srgbClr val="7E7E82"/>
      </a:dk1>
      <a:lt1>
        <a:srgbClr val="FFFFFF"/>
      </a:lt1>
      <a:dk2>
        <a:srgbClr val="FF0F00"/>
      </a:dk2>
      <a:lt2>
        <a:srgbClr val="E6D395"/>
      </a:lt2>
      <a:accent1>
        <a:srgbClr val="2DCCD3"/>
      </a:accent1>
      <a:accent2>
        <a:srgbClr val="1B365D"/>
      </a:accent2>
      <a:accent3>
        <a:srgbClr val="D2D755"/>
      </a:accent3>
      <a:accent4>
        <a:srgbClr val="E87722"/>
      </a:accent4>
      <a:accent5>
        <a:srgbClr val="7C2529"/>
      </a:accent5>
      <a:accent6>
        <a:srgbClr val="666666"/>
      </a:accent6>
      <a:hlink>
        <a:srgbClr val="D2D755"/>
      </a:hlink>
      <a:folHlink>
        <a:srgbClr val="E87722"/>
      </a:folHlink>
    </a:clrScheme>
    <a:fontScheme name="Custom 370">
      <a:majorFont>
        <a:latin typeface="PermianSlabSerifTypeface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7E7E82"/>
        </a:dk1>
        <a:lt1>
          <a:srgbClr val="FFFFFF"/>
        </a:lt1>
        <a:dk2>
          <a:srgbClr val="FF0F00"/>
        </a:dk2>
        <a:lt2>
          <a:srgbClr val="E6D395"/>
        </a:lt2>
        <a:accent1>
          <a:srgbClr val="2DCCD3"/>
        </a:accent1>
        <a:accent2>
          <a:srgbClr val="1B365D"/>
        </a:accent2>
        <a:accent3>
          <a:srgbClr val="D2D755"/>
        </a:accent3>
        <a:accent4>
          <a:srgbClr val="E87722"/>
        </a:accent4>
        <a:accent5>
          <a:srgbClr val="7C2529"/>
        </a:accent5>
        <a:accent6>
          <a:srgbClr val="666666"/>
        </a:accent6>
        <a:hlink>
          <a:srgbClr val="D2D755"/>
        </a:hlink>
        <a:folHlink>
          <a:srgbClr val="E877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6_TN_CF_NNJ005">
  <a:themeElements>
    <a:clrScheme name="Current">
      <a:dk1>
        <a:srgbClr val="7E7E82"/>
      </a:dk1>
      <a:lt1>
        <a:srgbClr val="FFFFFF"/>
      </a:lt1>
      <a:dk2>
        <a:srgbClr val="FF0F00"/>
      </a:dk2>
      <a:lt2>
        <a:srgbClr val="E6D395"/>
      </a:lt2>
      <a:accent1>
        <a:srgbClr val="2DCCD3"/>
      </a:accent1>
      <a:accent2>
        <a:srgbClr val="1B365D"/>
      </a:accent2>
      <a:accent3>
        <a:srgbClr val="D2D755"/>
      </a:accent3>
      <a:accent4>
        <a:srgbClr val="E87722"/>
      </a:accent4>
      <a:accent5>
        <a:srgbClr val="7C2529"/>
      </a:accent5>
      <a:accent6>
        <a:srgbClr val="666666"/>
      </a:accent6>
      <a:hlink>
        <a:srgbClr val="D2D755"/>
      </a:hlink>
      <a:folHlink>
        <a:srgbClr val="E87722"/>
      </a:folHlink>
    </a:clrScheme>
    <a:fontScheme name="Custom 370">
      <a:majorFont>
        <a:latin typeface="PermianSlabSerifTypeface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7E7E82"/>
        </a:dk1>
        <a:lt1>
          <a:srgbClr val="FFFFFF"/>
        </a:lt1>
        <a:dk2>
          <a:srgbClr val="FF0F00"/>
        </a:dk2>
        <a:lt2>
          <a:srgbClr val="E6D395"/>
        </a:lt2>
        <a:accent1>
          <a:srgbClr val="2DCCD3"/>
        </a:accent1>
        <a:accent2>
          <a:srgbClr val="1B365D"/>
        </a:accent2>
        <a:accent3>
          <a:srgbClr val="D2D755"/>
        </a:accent3>
        <a:accent4>
          <a:srgbClr val="E87722"/>
        </a:accent4>
        <a:accent5>
          <a:srgbClr val="7C2529"/>
        </a:accent5>
        <a:accent6>
          <a:srgbClr val="666666"/>
        </a:accent6>
        <a:hlink>
          <a:srgbClr val="D2D755"/>
        </a:hlink>
        <a:folHlink>
          <a:srgbClr val="E877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7_TN_CF_NNJ005">
  <a:themeElements>
    <a:clrScheme name="Current">
      <a:dk1>
        <a:srgbClr val="7E7E82"/>
      </a:dk1>
      <a:lt1>
        <a:srgbClr val="FFFFFF"/>
      </a:lt1>
      <a:dk2>
        <a:srgbClr val="FF0F00"/>
      </a:dk2>
      <a:lt2>
        <a:srgbClr val="E6D395"/>
      </a:lt2>
      <a:accent1>
        <a:srgbClr val="2DCCD3"/>
      </a:accent1>
      <a:accent2>
        <a:srgbClr val="1B365D"/>
      </a:accent2>
      <a:accent3>
        <a:srgbClr val="D2D755"/>
      </a:accent3>
      <a:accent4>
        <a:srgbClr val="E87722"/>
      </a:accent4>
      <a:accent5>
        <a:srgbClr val="7C2529"/>
      </a:accent5>
      <a:accent6>
        <a:srgbClr val="666666"/>
      </a:accent6>
      <a:hlink>
        <a:srgbClr val="D2D755"/>
      </a:hlink>
      <a:folHlink>
        <a:srgbClr val="E87722"/>
      </a:folHlink>
    </a:clrScheme>
    <a:fontScheme name="Custom 370">
      <a:majorFont>
        <a:latin typeface="PermianSlabSerifTypeface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7E7E82"/>
        </a:dk1>
        <a:lt1>
          <a:srgbClr val="FFFFFF"/>
        </a:lt1>
        <a:dk2>
          <a:srgbClr val="FF0F00"/>
        </a:dk2>
        <a:lt2>
          <a:srgbClr val="E6D395"/>
        </a:lt2>
        <a:accent1>
          <a:srgbClr val="2DCCD3"/>
        </a:accent1>
        <a:accent2>
          <a:srgbClr val="1B365D"/>
        </a:accent2>
        <a:accent3>
          <a:srgbClr val="D2D755"/>
        </a:accent3>
        <a:accent4>
          <a:srgbClr val="E87722"/>
        </a:accent4>
        <a:accent5>
          <a:srgbClr val="7C2529"/>
        </a:accent5>
        <a:accent6>
          <a:srgbClr val="666666"/>
        </a:accent6>
        <a:hlink>
          <a:srgbClr val="D2D755"/>
        </a:hlink>
        <a:folHlink>
          <a:srgbClr val="E877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8_TN_CF_NNJ005">
  <a:themeElements>
    <a:clrScheme name="Current">
      <a:dk1>
        <a:srgbClr val="7E7E82"/>
      </a:dk1>
      <a:lt1>
        <a:srgbClr val="FFFFFF"/>
      </a:lt1>
      <a:dk2>
        <a:srgbClr val="FF0F00"/>
      </a:dk2>
      <a:lt2>
        <a:srgbClr val="E6D395"/>
      </a:lt2>
      <a:accent1>
        <a:srgbClr val="2DCCD3"/>
      </a:accent1>
      <a:accent2>
        <a:srgbClr val="1B365D"/>
      </a:accent2>
      <a:accent3>
        <a:srgbClr val="D2D755"/>
      </a:accent3>
      <a:accent4>
        <a:srgbClr val="E87722"/>
      </a:accent4>
      <a:accent5>
        <a:srgbClr val="7C2529"/>
      </a:accent5>
      <a:accent6>
        <a:srgbClr val="666666"/>
      </a:accent6>
      <a:hlink>
        <a:srgbClr val="D2D755"/>
      </a:hlink>
      <a:folHlink>
        <a:srgbClr val="E87722"/>
      </a:folHlink>
    </a:clrScheme>
    <a:fontScheme name="Custom 370">
      <a:majorFont>
        <a:latin typeface="PermianSlabSerifTypeface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7E7E82"/>
        </a:dk1>
        <a:lt1>
          <a:srgbClr val="FFFFFF"/>
        </a:lt1>
        <a:dk2>
          <a:srgbClr val="FF0F00"/>
        </a:dk2>
        <a:lt2>
          <a:srgbClr val="E6D395"/>
        </a:lt2>
        <a:accent1>
          <a:srgbClr val="2DCCD3"/>
        </a:accent1>
        <a:accent2>
          <a:srgbClr val="1B365D"/>
        </a:accent2>
        <a:accent3>
          <a:srgbClr val="D2D755"/>
        </a:accent3>
        <a:accent4>
          <a:srgbClr val="E87722"/>
        </a:accent4>
        <a:accent5>
          <a:srgbClr val="7C2529"/>
        </a:accent5>
        <a:accent6>
          <a:srgbClr val="666666"/>
        </a:accent6>
        <a:hlink>
          <a:srgbClr val="D2D755"/>
        </a:hlink>
        <a:folHlink>
          <a:srgbClr val="E877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9_TN_CF_NNJ005">
  <a:themeElements>
    <a:clrScheme name="Current">
      <a:dk1>
        <a:srgbClr val="7E7E82"/>
      </a:dk1>
      <a:lt1>
        <a:srgbClr val="FFFFFF"/>
      </a:lt1>
      <a:dk2>
        <a:srgbClr val="FF0F00"/>
      </a:dk2>
      <a:lt2>
        <a:srgbClr val="E6D395"/>
      </a:lt2>
      <a:accent1>
        <a:srgbClr val="2DCCD3"/>
      </a:accent1>
      <a:accent2>
        <a:srgbClr val="1B365D"/>
      </a:accent2>
      <a:accent3>
        <a:srgbClr val="D2D755"/>
      </a:accent3>
      <a:accent4>
        <a:srgbClr val="E87722"/>
      </a:accent4>
      <a:accent5>
        <a:srgbClr val="7C2529"/>
      </a:accent5>
      <a:accent6>
        <a:srgbClr val="666666"/>
      </a:accent6>
      <a:hlink>
        <a:srgbClr val="D2D755"/>
      </a:hlink>
      <a:folHlink>
        <a:srgbClr val="E87722"/>
      </a:folHlink>
    </a:clrScheme>
    <a:fontScheme name="Custom 370">
      <a:majorFont>
        <a:latin typeface="PermianSlabSerifTypeface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7E7E82"/>
        </a:dk1>
        <a:lt1>
          <a:srgbClr val="FFFFFF"/>
        </a:lt1>
        <a:dk2>
          <a:srgbClr val="FF0F00"/>
        </a:dk2>
        <a:lt2>
          <a:srgbClr val="E6D395"/>
        </a:lt2>
        <a:accent1>
          <a:srgbClr val="2DCCD3"/>
        </a:accent1>
        <a:accent2>
          <a:srgbClr val="1B365D"/>
        </a:accent2>
        <a:accent3>
          <a:srgbClr val="D2D755"/>
        </a:accent3>
        <a:accent4>
          <a:srgbClr val="E87722"/>
        </a:accent4>
        <a:accent5>
          <a:srgbClr val="7C2529"/>
        </a:accent5>
        <a:accent6>
          <a:srgbClr val="666666"/>
        </a:accent6>
        <a:hlink>
          <a:srgbClr val="D2D755"/>
        </a:hlink>
        <a:folHlink>
          <a:srgbClr val="E877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0_TN_CF_NNJ005">
  <a:themeElements>
    <a:clrScheme name="Current">
      <a:dk1>
        <a:srgbClr val="7E7E82"/>
      </a:dk1>
      <a:lt1>
        <a:srgbClr val="FFFFFF"/>
      </a:lt1>
      <a:dk2>
        <a:srgbClr val="FF0F00"/>
      </a:dk2>
      <a:lt2>
        <a:srgbClr val="E6D395"/>
      </a:lt2>
      <a:accent1>
        <a:srgbClr val="2DCCD3"/>
      </a:accent1>
      <a:accent2>
        <a:srgbClr val="1B365D"/>
      </a:accent2>
      <a:accent3>
        <a:srgbClr val="D2D755"/>
      </a:accent3>
      <a:accent4>
        <a:srgbClr val="E87722"/>
      </a:accent4>
      <a:accent5>
        <a:srgbClr val="7C2529"/>
      </a:accent5>
      <a:accent6>
        <a:srgbClr val="666666"/>
      </a:accent6>
      <a:hlink>
        <a:srgbClr val="D2D755"/>
      </a:hlink>
      <a:folHlink>
        <a:srgbClr val="E87722"/>
      </a:folHlink>
    </a:clrScheme>
    <a:fontScheme name="Custom 370">
      <a:majorFont>
        <a:latin typeface="PermianSlabSerifTypeface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7E7E82"/>
        </a:dk1>
        <a:lt1>
          <a:srgbClr val="FFFFFF"/>
        </a:lt1>
        <a:dk2>
          <a:srgbClr val="FF0F00"/>
        </a:dk2>
        <a:lt2>
          <a:srgbClr val="E6D395"/>
        </a:lt2>
        <a:accent1>
          <a:srgbClr val="2DCCD3"/>
        </a:accent1>
        <a:accent2>
          <a:srgbClr val="1B365D"/>
        </a:accent2>
        <a:accent3>
          <a:srgbClr val="D2D755"/>
        </a:accent3>
        <a:accent4>
          <a:srgbClr val="E87722"/>
        </a:accent4>
        <a:accent5>
          <a:srgbClr val="7C2529"/>
        </a:accent5>
        <a:accent6>
          <a:srgbClr val="666666"/>
        </a:accent6>
        <a:hlink>
          <a:srgbClr val="D2D755"/>
        </a:hlink>
        <a:folHlink>
          <a:srgbClr val="E877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1_TN_CF_NNJ005">
  <a:themeElements>
    <a:clrScheme name="Current">
      <a:dk1>
        <a:srgbClr val="7E7E82"/>
      </a:dk1>
      <a:lt1>
        <a:srgbClr val="FFFFFF"/>
      </a:lt1>
      <a:dk2>
        <a:srgbClr val="FF0F00"/>
      </a:dk2>
      <a:lt2>
        <a:srgbClr val="E6D395"/>
      </a:lt2>
      <a:accent1>
        <a:srgbClr val="2DCCD3"/>
      </a:accent1>
      <a:accent2>
        <a:srgbClr val="1B365D"/>
      </a:accent2>
      <a:accent3>
        <a:srgbClr val="D2D755"/>
      </a:accent3>
      <a:accent4>
        <a:srgbClr val="E87722"/>
      </a:accent4>
      <a:accent5>
        <a:srgbClr val="7C2529"/>
      </a:accent5>
      <a:accent6>
        <a:srgbClr val="666666"/>
      </a:accent6>
      <a:hlink>
        <a:srgbClr val="D2D755"/>
      </a:hlink>
      <a:folHlink>
        <a:srgbClr val="E87722"/>
      </a:folHlink>
    </a:clrScheme>
    <a:fontScheme name="Custom 370">
      <a:majorFont>
        <a:latin typeface="PermianSlabSerifTypeface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7E7E82"/>
        </a:dk1>
        <a:lt1>
          <a:srgbClr val="FFFFFF"/>
        </a:lt1>
        <a:dk2>
          <a:srgbClr val="FF0F00"/>
        </a:dk2>
        <a:lt2>
          <a:srgbClr val="E6D395"/>
        </a:lt2>
        <a:accent1>
          <a:srgbClr val="2DCCD3"/>
        </a:accent1>
        <a:accent2>
          <a:srgbClr val="1B365D"/>
        </a:accent2>
        <a:accent3>
          <a:srgbClr val="D2D755"/>
        </a:accent3>
        <a:accent4>
          <a:srgbClr val="E87722"/>
        </a:accent4>
        <a:accent5>
          <a:srgbClr val="7C2529"/>
        </a:accent5>
        <a:accent6>
          <a:srgbClr val="666666"/>
        </a:accent6>
        <a:hlink>
          <a:srgbClr val="D2D755"/>
        </a:hlink>
        <a:folHlink>
          <a:srgbClr val="E877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12_TN_CF_NNJ005">
  <a:themeElements>
    <a:clrScheme name="Current">
      <a:dk1>
        <a:srgbClr val="7E7E82"/>
      </a:dk1>
      <a:lt1>
        <a:srgbClr val="FFFFFF"/>
      </a:lt1>
      <a:dk2>
        <a:srgbClr val="FF0F00"/>
      </a:dk2>
      <a:lt2>
        <a:srgbClr val="E6D395"/>
      </a:lt2>
      <a:accent1>
        <a:srgbClr val="2DCCD3"/>
      </a:accent1>
      <a:accent2>
        <a:srgbClr val="1B365D"/>
      </a:accent2>
      <a:accent3>
        <a:srgbClr val="D2D755"/>
      </a:accent3>
      <a:accent4>
        <a:srgbClr val="E87722"/>
      </a:accent4>
      <a:accent5>
        <a:srgbClr val="7C2529"/>
      </a:accent5>
      <a:accent6>
        <a:srgbClr val="666666"/>
      </a:accent6>
      <a:hlink>
        <a:srgbClr val="D2D755"/>
      </a:hlink>
      <a:folHlink>
        <a:srgbClr val="E87722"/>
      </a:folHlink>
    </a:clrScheme>
    <a:fontScheme name="Custom 370">
      <a:majorFont>
        <a:latin typeface="PermianSlabSerifTypeface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7E7E82"/>
        </a:dk1>
        <a:lt1>
          <a:srgbClr val="FFFFFF"/>
        </a:lt1>
        <a:dk2>
          <a:srgbClr val="FF0F00"/>
        </a:dk2>
        <a:lt2>
          <a:srgbClr val="E6D395"/>
        </a:lt2>
        <a:accent1>
          <a:srgbClr val="2DCCD3"/>
        </a:accent1>
        <a:accent2>
          <a:srgbClr val="1B365D"/>
        </a:accent2>
        <a:accent3>
          <a:srgbClr val="D2D755"/>
        </a:accent3>
        <a:accent4>
          <a:srgbClr val="E87722"/>
        </a:accent4>
        <a:accent5>
          <a:srgbClr val="7C2529"/>
        </a:accent5>
        <a:accent6>
          <a:srgbClr val="666666"/>
        </a:accent6>
        <a:hlink>
          <a:srgbClr val="D2D755"/>
        </a:hlink>
        <a:folHlink>
          <a:srgbClr val="E877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13_TN_CF_NNJ005">
  <a:themeElements>
    <a:clrScheme name="Current">
      <a:dk1>
        <a:srgbClr val="7E7E82"/>
      </a:dk1>
      <a:lt1>
        <a:srgbClr val="FFFFFF"/>
      </a:lt1>
      <a:dk2>
        <a:srgbClr val="FF0F00"/>
      </a:dk2>
      <a:lt2>
        <a:srgbClr val="E6D395"/>
      </a:lt2>
      <a:accent1>
        <a:srgbClr val="2DCCD3"/>
      </a:accent1>
      <a:accent2>
        <a:srgbClr val="1B365D"/>
      </a:accent2>
      <a:accent3>
        <a:srgbClr val="D2D755"/>
      </a:accent3>
      <a:accent4>
        <a:srgbClr val="E87722"/>
      </a:accent4>
      <a:accent5>
        <a:srgbClr val="7C2529"/>
      </a:accent5>
      <a:accent6>
        <a:srgbClr val="666666"/>
      </a:accent6>
      <a:hlink>
        <a:srgbClr val="D2D755"/>
      </a:hlink>
      <a:folHlink>
        <a:srgbClr val="E87722"/>
      </a:folHlink>
    </a:clrScheme>
    <a:fontScheme name="Custom 370">
      <a:majorFont>
        <a:latin typeface="PermianSlabSerifTypeface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7E7E82"/>
        </a:dk1>
        <a:lt1>
          <a:srgbClr val="FFFFFF"/>
        </a:lt1>
        <a:dk2>
          <a:srgbClr val="FF0F00"/>
        </a:dk2>
        <a:lt2>
          <a:srgbClr val="E6D395"/>
        </a:lt2>
        <a:accent1>
          <a:srgbClr val="2DCCD3"/>
        </a:accent1>
        <a:accent2>
          <a:srgbClr val="1B365D"/>
        </a:accent2>
        <a:accent3>
          <a:srgbClr val="D2D755"/>
        </a:accent3>
        <a:accent4>
          <a:srgbClr val="E87722"/>
        </a:accent4>
        <a:accent5>
          <a:srgbClr val="7C2529"/>
        </a:accent5>
        <a:accent6>
          <a:srgbClr val="666666"/>
        </a:accent6>
        <a:hlink>
          <a:srgbClr val="D2D755"/>
        </a:hlink>
        <a:folHlink>
          <a:srgbClr val="E877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6_PowerPoint A">
  <a:themeElements>
    <a:clrScheme name="Brand Colors">
      <a:dk1>
        <a:sysClr val="windowText" lastClr="000000"/>
      </a:dk1>
      <a:lt1>
        <a:sysClr val="window" lastClr="FFFFFF"/>
      </a:lt1>
      <a:dk2>
        <a:srgbClr val="1B365D"/>
      </a:dk2>
      <a:lt2>
        <a:srgbClr val="FF0F00"/>
      </a:lt2>
      <a:accent1>
        <a:srgbClr val="2DCCD3"/>
      </a:accent1>
      <a:accent2>
        <a:srgbClr val="D2D755"/>
      </a:accent2>
      <a:accent3>
        <a:srgbClr val="E87722"/>
      </a:accent3>
      <a:accent4>
        <a:srgbClr val="7C2529"/>
      </a:accent4>
      <a:accent5>
        <a:srgbClr val="666666"/>
      </a:accent5>
      <a:accent6>
        <a:srgbClr val="E6D395"/>
      </a:accent6>
      <a:hlink>
        <a:srgbClr val="131E29"/>
      </a:hlink>
      <a:folHlink>
        <a:srgbClr val="CBC4B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N_CF_NNJ003">
  <a:themeElements>
    <a:clrScheme name="Current">
      <a:dk1>
        <a:srgbClr val="000000"/>
      </a:dk1>
      <a:lt1>
        <a:srgbClr val="FFFFFF"/>
      </a:lt1>
      <a:dk2>
        <a:srgbClr val="FF0F00"/>
      </a:dk2>
      <a:lt2>
        <a:srgbClr val="EBEBEB"/>
      </a:lt2>
      <a:accent1>
        <a:srgbClr val="ABEBED"/>
      </a:accent1>
      <a:accent2>
        <a:srgbClr val="2DCCD3"/>
      </a:accent2>
      <a:accent3>
        <a:srgbClr val="1B365D"/>
      </a:accent3>
      <a:accent4>
        <a:srgbClr val="FF0F00"/>
      </a:accent4>
      <a:accent5>
        <a:srgbClr val="7C2529"/>
      </a:accent5>
      <a:accent6>
        <a:srgbClr val="808080"/>
      </a:accent6>
      <a:hlink>
        <a:srgbClr val="1B365D"/>
      </a:hlink>
      <a:folHlink>
        <a:srgbClr val="FF0F00"/>
      </a:folHlink>
    </a:clrScheme>
    <a:fontScheme name="Custom 337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F0F00"/>
        </a:dk2>
        <a:lt2>
          <a:srgbClr val="EBEBEB"/>
        </a:lt2>
        <a:accent1>
          <a:srgbClr val="ABEBED"/>
        </a:accent1>
        <a:accent2>
          <a:srgbClr val="2DCCD3"/>
        </a:accent2>
        <a:accent3>
          <a:srgbClr val="1B365D"/>
        </a:accent3>
        <a:accent4>
          <a:srgbClr val="FF0F00"/>
        </a:accent4>
        <a:accent5>
          <a:srgbClr val="7C2529"/>
        </a:accent5>
        <a:accent6>
          <a:srgbClr val="808080"/>
        </a:accent6>
        <a:hlink>
          <a:srgbClr val="1B365D"/>
        </a:hlink>
        <a:folHlink>
          <a:srgbClr val="FF0F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4_PowerPoint A">
  <a:themeElements>
    <a:clrScheme name="Brand Colors">
      <a:dk1>
        <a:sysClr val="windowText" lastClr="000000"/>
      </a:dk1>
      <a:lt1>
        <a:sysClr val="window" lastClr="FFFFFF"/>
      </a:lt1>
      <a:dk2>
        <a:srgbClr val="1B365D"/>
      </a:dk2>
      <a:lt2>
        <a:srgbClr val="FF0F00"/>
      </a:lt2>
      <a:accent1>
        <a:srgbClr val="2DCCD3"/>
      </a:accent1>
      <a:accent2>
        <a:srgbClr val="D2D755"/>
      </a:accent2>
      <a:accent3>
        <a:srgbClr val="E87722"/>
      </a:accent3>
      <a:accent4>
        <a:srgbClr val="7C2529"/>
      </a:accent4>
      <a:accent5>
        <a:srgbClr val="666666"/>
      </a:accent5>
      <a:accent6>
        <a:srgbClr val="E6D395"/>
      </a:accent6>
      <a:hlink>
        <a:srgbClr val="131E29"/>
      </a:hlink>
      <a:folHlink>
        <a:srgbClr val="CBC4B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N_CF_NNJ005">
  <a:themeElements>
    <a:clrScheme name="Current">
      <a:dk1>
        <a:srgbClr val="7E7E82"/>
      </a:dk1>
      <a:lt1>
        <a:srgbClr val="FFFFFF"/>
      </a:lt1>
      <a:dk2>
        <a:srgbClr val="FF0F00"/>
      </a:dk2>
      <a:lt2>
        <a:srgbClr val="E6D395"/>
      </a:lt2>
      <a:accent1>
        <a:srgbClr val="2DCCD3"/>
      </a:accent1>
      <a:accent2>
        <a:srgbClr val="1B365D"/>
      </a:accent2>
      <a:accent3>
        <a:srgbClr val="D2D755"/>
      </a:accent3>
      <a:accent4>
        <a:srgbClr val="E87722"/>
      </a:accent4>
      <a:accent5>
        <a:srgbClr val="7C2529"/>
      </a:accent5>
      <a:accent6>
        <a:srgbClr val="666666"/>
      </a:accent6>
      <a:hlink>
        <a:srgbClr val="D2D755"/>
      </a:hlink>
      <a:folHlink>
        <a:srgbClr val="E87722"/>
      </a:folHlink>
    </a:clrScheme>
    <a:fontScheme name="Custom 370">
      <a:majorFont>
        <a:latin typeface="PermianSlabSerifTypeface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7E7E82"/>
        </a:dk1>
        <a:lt1>
          <a:srgbClr val="FFFFFF"/>
        </a:lt1>
        <a:dk2>
          <a:srgbClr val="FF0F00"/>
        </a:dk2>
        <a:lt2>
          <a:srgbClr val="E6D395"/>
        </a:lt2>
        <a:accent1>
          <a:srgbClr val="2DCCD3"/>
        </a:accent1>
        <a:accent2>
          <a:srgbClr val="1B365D"/>
        </a:accent2>
        <a:accent3>
          <a:srgbClr val="D2D755"/>
        </a:accent3>
        <a:accent4>
          <a:srgbClr val="E87722"/>
        </a:accent4>
        <a:accent5>
          <a:srgbClr val="7C2529"/>
        </a:accent5>
        <a:accent6>
          <a:srgbClr val="666666"/>
        </a:accent6>
        <a:hlink>
          <a:srgbClr val="D2D755"/>
        </a:hlink>
        <a:folHlink>
          <a:srgbClr val="E877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TN_CF_NNJ003">
  <a:themeElements>
    <a:clrScheme name="Current">
      <a:dk1>
        <a:srgbClr val="000000"/>
      </a:dk1>
      <a:lt1>
        <a:srgbClr val="FFFFFF"/>
      </a:lt1>
      <a:dk2>
        <a:srgbClr val="FF0F00"/>
      </a:dk2>
      <a:lt2>
        <a:srgbClr val="EBEBEB"/>
      </a:lt2>
      <a:accent1>
        <a:srgbClr val="ABEBED"/>
      </a:accent1>
      <a:accent2>
        <a:srgbClr val="2DCCD3"/>
      </a:accent2>
      <a:accent3>
        <a:srgbClr val="1B365D"/>
      </a:accent3>
      <a:accent4>
        <a:srgbClr val="FF0F00"/>
      </a:accent4>
      <a:accent5>
        <a:srgbClr val="7C2529"/>
      </a:accent5>
      <a:accent6>
        <a:srgbClr val="808080"/>
      </a:accent6>
      <a:hlink>
        <a:srgbClr val="1B365D"/>
      </a:hlink>
      <a:folHlink>
        <a:srgbClr val="FF0F00"/>
      </a:folHlink>
    </a:clrScheme>
    <a:fontScheme name="Custom 337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FF0F00"/>
        </a:dk2>
        <a:lt2>
          <a:srgbClr val="EBEBEB"/>
        </a:lt2>
        <a:accent1>
          <a:srgbClr val="ABEBED"/>
        </a:accent1>
        <a:accent2>
          <a:srgbClr val="2DCCD3"/>
        </a:accent2>
        <a:accent3>
          <a:srgbClr val="1B365D"/>
        </a:accent3>
        <a:accent4>
          <a:srgbClr val="FF0F00"/>
        </a:accent4>
        <a:accent5>
          <a:srgbClr val="7C2529"/>
        </a:accent5>
        <a:accent6>
          <a:srgbClr val="808080"/>
        </a:accent6>
        <a:hlink>
          <a:srgbClr val="1B365D"/>
        </a:hlink>
        <a:folHlink>
          <a:srgbClr val="FF0F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TN_CF_NNJ005">
  <a:themeElements>
    <a:clrScheme name="Current">
      <a:dk1>
        <a:srgbClr val="7E7E82"/>
      </a:dk1>
      <a:lt1>
        <a:srgbClr val="FFFFFF"/>
      </a:lt1>
      <a:dk2>
        <a:srgbClr val="FF0F00"/>
      </a:dk2>
      <a:lt2>
        <a:srgbClr val="E6D395"/>
      </a:lt2>
      <a:accent1>
        <a:srgbClr val="2DCCD3"/>
      </a:accent1>
      <a:accent2>
        <a:srgbClr val="1B365D"/>
      </a:accent2>
      <a:accent3>
        <a:srgbClr val="D2D755"/>
      </a:accent3>
      <a:accent4>
        <a:srgbClr val="E87722"/>
      </a:accent4>
      <a:accent5>
        <a:srgbClr val="7C2529"/>
      </a:accent5>
      <a:accent6>
        <a:srgbClr val="666666"/>
      </a:accent6>
      <a:hlink>
        <a:srgbClr val="D2D755"/>
      </a:hlink>
      <a:folHlink>
        <a:srgbClr val="E87722"/>
      </a:folHlink>
    </a:clrScheme>
    <a:fontScheme name="Custom 370">
      <a:majorFont>
        <a:latin typeface="PermianSlabSerifTypeface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7E7E82"/>
        </a:dk1>
        <a:lt1>
          <a:srgbClr val="FFFFFF"/>
        </a:lt1>
        <a:dk2>
          <a:srgbClr val="FF0F00"/>
        </a:dk2>
        <a:lt2>
          <a:srgbClr val="E6D395"/>
        </a:lt2>
        <a:accent1>
          <a:srgbClr val="2DCCD3"/>
        </a:accent1>
        <a:accent2>
          <a:srgbClr val="1B365D"/>
        </a:accent2>
        <a:accent3>
          <a:srgbClr val="D2D755"/>
        </a:accent3>
        <a:accent4>
          <a:srgbClr val="E87722"/>
        </a:accent4>
        <a:accent5>
          <a:srgbClr val="7C2529"/>
        </a:accent5>
        <a:accent6>
          <a:srgbClr val="666666"/>
        </a:accent6>
        <a:hlink>
          <a:srgbClr val="D2D755"/>
        </a:hlink>
        <a:folHlink>
          <a:srgbClr val="E877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2_TN_CF_NNJ005">
  <a:themeElements>
    <a:clrScheme name="Current">
      <a:dk1>
        <a:srgbClr val="7E7E82"/>
      </a:dk1>
      <a:lt1>
        <a:srgbClr val="FFFFFF"/>
      </a:lt1>
      <a:dk2>
        <a:srgbClr val="FF0F00"/>
      </a:dk2>
      <a:lt2>
        <a:srgbClr val="E6D395"/>
      </a:lt2>
      <a:accent1>
        <a:srgbClr val="2DCCD3"/>
      </a:accent1>
      <a:accent2>
        <a:srgbClr val="1B365D"/>
      </a:accent2>
      <a:accent3>
        <a:srgbClr val="D2D755"/>
      </a:accent3>
      <a:accent4>
        <a:srgbClr val="E87722"/>
      </a:accent4>
      <a:accent5>
        <a:srgbClr val="7C2529"/>
      </a:accent5>
      <a:accent6>
        <a:srgbClr val="666666"/>
      </a:accent6>
      <a:hlink>
        <a:srgbClr val="D2D755"/>
      </a:hlink>
      <a:folHlink>
        <a:srgbClr val="E87722"/>
      </a:folHlink>
    </a:clrScheme>
    <a:fontScheme name="Custom 370">
      <a:majorFont>
        <a:latin typeface="PermianSlabSerifTypeface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7E7E82"/>
        </a:dk1>
        <a:lt1>
          <a:srgbClr val="FFFFFF"/>
        </a:lt1>
        <a:dk2>
          <a:srgbClr val="FF0F00"/>
        </a:dk2>
        <a:lt2>
          <a:srgbClr val="E6D395"/>
        </a:lt2>
        <a:accent1>
          <a:srgbClr val="2DCCD3"/>
        </a:accent1>
        <a:accent2>
          <a:srgbClr val="1B365D"/>
        </a:accent2>
        <a:accent3>
          <a:srgbClr val="D2D755"/>
        </a:accent3>
        <a:accent4>
          <a:srgbClr val="E87722"/>
        </a:accent4>
        <a:accent5>
          <a:srgbClr val="7C2529"/>
        </a:accent5>
        <a:accent6>
          <a:srgbClr val="666666"/>
        </a:accent6>
        <a:hlink>
          <a:srgbClr val="D2D755"/>
        </a:hlink>
        <a:folHlink>
          <a:srgbClr val="E877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3_TN_CF_NNJ005">
  <a:themeElements>
    <a:clrScheme name="Current">
      <a:dk1>
        <a:srgbClr val="7E7E82"/>
      </a:dk1>
      <a:lt1>
        <a:srgbClr val="FFFFFF"/>
      </a:lt1>
      <a:dk2>
        <a:srgbClr val="FF0F00"/>
      </a:dk2>
      <a:lt2>
        <a:srgbClr val="E6D395"/>
      </a:lt2>
      <a:accent1>
        <a:srgbClr val="2DCCD3"/>
      </a:accent1>
      <a:accent2>
        <a:srgbClr val="1B365D"/>
      </a:accent2>
      <a:accent3>
        <a:srgbClr val="D2D755"/>
      </a:accent3>
      <a:accent4>
        <a:srgbClr val="E87722"/>
      </a:accent4>
      <a:accent5>
        <a:srgbClr val="7C2529"/>
      </a:accent5>
      <a:accent6>
        <a:srgbClr val="666666"/>
      </a:accent6>
      <a:hlink>
        <a:srgbClr val="D2D755"/>
      </a:hlink>
      <a:folHlink>
        <a:srgbClr val="E87722"/>
      </a:folHlink>
    </a:clrScheme>
    <a:fontScheme name="Custom 370">
      <a:majorFont>
        <a:latin typeface="PermianSlabSerifTypeface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7E7E82"/>
        </a:dk1>
        <a:lt1>
          <a:srgbClr val="FFFFFF"/>
        </a:lt1>
        <a:dk2>
          <a:srgbClr val="FF0F00"/>
        </a:dk2>
        <a:lt2>
          <a:srgbClr val="E6D395"/>
        </a:lt2>
        <a:accent1>
          <a:srgbClr val="2DCCD3"/>
        </a:accent1>
        <a:accent2>
          <a:srgbClr val="1B365D"/>
        </a:accent2>
        <a:accent3>
          <a:srgbClr val="D2D755"/>
        </a:accent3>
        <a:accent4>
          <a:srgbClr val="E87722"/>
        </a:accent4>
        <a:accent5>
          <a:srgbClr val="7C2529"/>
        </a:accent5>
        <a:accent6>
          <a:srgbClr val="666666"/>
        </a:accent6>
        <a:hlink>
          <a:srgbClr val="D2D755"/>
        </a:hlink>
        <a:folHlink>
          <a:srgbClr val="E877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4_TN_CF_NNJ005">
  <a:themeElements>
    <a:clrScheme name="Current">
      <a:dk1>
        <a:srgbClr val="7E7E82"/>
      </a:dk1>
      <a:lt1>
        <a:srgbClr val="FFFFFF"/>
      </a:lt1>
      <a:dk2>
        <a:srgbClr val="FF0F00"/>
      </a:dk2>
      <a:lt2>
        <a:srgbClr val="E6D395"/>
      </a:lt2>
      <a:accent1>
        <a:srgbClr val="2DCCD3"/>
      </a:accent1>
      <a:accent2>
        <a:srgbClr val="1B365D"/>
      </a:accent2>
      <a:accent3>
        <a:srgbClr val="D2D755"/>
      </a:accent3>
      <a:accent4>
        <a:srgbClr val="E87722"/>
      </a:accent4>
      <a:accent5>
        <a:srgbClr val="7C2529"/>
      </a:accent5>
      <a:accent6>
        <a:srgbClr val="666666"/>
      </a:accent6>
      <a:hlink>
        <a:srgbClr val="D2D755"/>
      </a:hlink>
      <a:folHlink>
        <a:srgbClr val="E87722"/>
      </a:folHlink>
    </a:clrScheme>
    <a:fontScheme name="Custom 370">
      <a:majorFont>
        <a:latin typeface="PermianSlabSerifTypeface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7E7E82"/>
        </a:dk1>
        <a:lt1>
          <a:srgbClr val="FFFFFF"/>
        </a:lt1>
        <a:dk2>
          <a:srgbClr val="FF0F00"/>
        </a:dk2>
        <a:lt2>
          <a:srgbClr val="E6D395"/>
        </a:lt2>
        <a:accent1>
          <a:srgbClr val="2DCCD3"/>
        </a:accent1>
        <a:accent2>
          <a:srgbClr val="1B365D"/>
        </a:accent2>
        <a:accent3>
          <a:srgbClr val="D2D755"/>
        </a:accent3>
        <a:accent4>
          <a:srgbClr val="E87722"/>
        </a:accent4>
        <a:accent5>
          <a:srgbClr val="7C2529"/>
        </a:accent5>
        <a:accent6>
          <a:srgbClr val="666666"/>
        </a:accent6>
        <a:hlink>
          <a:srgbClr val="D2D755"/>
        </a:hlink>
        <a:folHlink>
          <a:srgbClr val="E8772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31</TotalTime>
  <Words>1605</Words>
  <Application>Microsoft Office PowerPoint</Application>
  <PresentationFormat>On-screen Show (4:3)</PresentationFormat>
  <Paragraphs>407</Paragraphs>
  <Slides>12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1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32" baseType="lpstr">
      <vt:lpstr>PowerPoint A</vt:lpstr>
      <vt:lpstr>TN_CF_NNJ003</vt:lpstr>
      <vt:lpstr>4_PowerPoint A</vt:lpstr>
      <vt:lpstr>TN_CF_NNJ005</vt:lpstr>
      <vt:lpstr>1_TN_CF_NNJ003</vt:lpstr>
      <vt:lpstr>1_TN_CF_NNJ005</vt:lpstr>
      <vt:lpstr>2_TN_CF_NNJ005</vt:lpstr>
      <vt:lpstr>3_TN_CF_NNJ005</vt:lpstr>
      <vt:lpstr>4_TN_CF_NNJ005</vt:lpstr>
      <vt:lpstr>5_TN_CF_NNJ005</vt:lpstr>
      <vt:lpstr>6_TN_CF_NNJ005</vt:lpstr>
      <vt:lpstr>7_TN_CF_NNJ005</vt:lpstr>
      <vt:lpstr>8_TN_CF_NNJ005</vt:lpstr>
      <vt:lpstr>9_TN_CF_NNJ005</vt:lpstr>
      <vt:lpstr>10_TN_CF_NNJ005</vt:lpstr>
      <vt:lpstr>11_TN_CF_NNJ005</vt:lpstr>
      <vt:lpstr>12_TN_CF_NNJ005</vt:lpstr>
      <vt:lpstr>13_TN_CF_NNJ005</vt:lpstr>
      <vt:lpstr>6_PowerPoint A</vt:lpstr>
      <vt:lpstr>think-cell Slide</vt:lpstr>
      <vt:lpstr>TEnnCARE</vt:lpstr>
      <vt:lpstr>Healthcare costs are increasing steadily </vt:lpstr>
      <vt:lpstr>PowerPoint Presentation</vt:lpstr>
      <vt:lpstr>PowerPoint Presentation</vt:lpstr>
      <vt:lpstr>Objectives of PCMH and Tennessee Health Link</vt:lpstr>
      <vt:lpstr>PowerPoint Presentation</vt:lpstr>
      <vt:lpstr>PCMH Payment Model Overview</vt:lpstr>
      <vt:lpstr>75 episodes of care will be designed and implemented over 5 years</vt:lpstr>
      <vt:lpstr>PowerPoint Presentation</vt:lpstr>
      <vt:lpstr>PowerPoint Presentation</vt:lpstr>
      <vt:lpstr>Estimate of Penalties and Rewards, CY 2016, With One-Time Penalty Adjustment</vt:lpstr>
      <vt:lpstr>Thank You</vt:lpstr>
    </vt:vector>
  </TitlesOfParts>
  <Company>State of Tennessee: Finance &amp; Administrati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E OF TENNESSEE</dc:title>
  <dc:creator>Molly Wehlage</dc:creator>
  <cp:lastModifiedBy>Vaughn Frigon</cp:lastModifiedBy>
  <cp:revision>125</cp:revision>
  <cp:lastPrinted>2016-02-05T16:42:43Z</cp:lastPrinted>
  <dcterms:created xsi:type="dcterms:W3CDTF">2015-04-17T19:23:54Z</dcterms:created>
  <dcterms:modified xsi:type="dcterms:W3CDTF">2018-04-16T17:52:59Z</dcterms:modified>
</cp:coreProperties>
</file>